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6"/>
  </p:notesMasterIdLst>
  <p:sldIdLst>
    <p:sldId id="261" r:id="rId6"/>
    <p:sldId id="269" r:id="rId7"/>
    <p:sldId id="270" r:id="rId8"/>
    <p:sldId id="275" r:id="rId9"/>
    <p:sldId id="268" r:id="rId10"/>
    <p:sldId id="259" r:id="rId11"/>
    <p:sldId id="264" r:id="rId12"/>
    <p:sldId id="274" r:id="rId13"/>
    <p:sldId id="277" r:id="rId14"/>
    <p:sldId id="273" r:id="rId15"/>
  </p:sldIdLst>
  <p:sldSz cx="9144000" cy="5111750"/>
  <p:notesSz cx="14255750" cy="9774238"/>
  <p:custDataLst>
    <p:tags r:id="rId17"/>
  </p:custDataLst>
  <p:defaultTextStyle>
    <a:defPPr>
      <a:defRPr lang="nb-NO"/>
    </a:defPPr>
    <a:lvl1pPr marL="0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921274-A243-60C3-8DB0-D7227B1AC670}" name="Lars Tennbakk Bockman" initials="LB" userId="S::lars.bockman@fornybarnorge.no::5a235df0-e381-4c4c-99ce-24b4b21fb9d1" providerId="AD"/>
  <p188:author id="{5E3A118B-92BF-8F94-E3E6-76E6F07C9213}" name="Iselin Ekeli Rønningsbakk" initials="IR" userId="S::iselin.ronningsbakk@fornybarnorge.no::187300ae-9cb6-416d-8a94-664ca977a2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543D"/>
    <a:srgbClr val="8A00FA"/>
    <a:srgbClr val="E6D1FF"/>
    <a:srgbClr val="5F00C2"/>
    <a:srgbClr val="80F1CB"/>
    <a:srgbClr val="4BF0C5"/>
    <a:srgbClr val="00583C"/>
    <a:srgbClr val="8C0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13BEC9-DAF0-4763-B45B-FD959F31233A}" v="1" dt="2024-10-04T09:01:14.297"/>
    <p1510:client id="{2DD08CE4-CA9B-4C62-8211-1FE07A121053}" v="2135" dt="2024-10-04T10:04:03.752"/>
    <p1510:client id="{2FEB8620-A4A4-4760-AF90-4523754BC642}" v="1" dt="2024-10-04T09:02:08.934"/>
    <p1510:client id="{8BC88EEB-960C-4923-AE0E-E6E6F3F4E1BA}" v="560" dt="2024-10-03T11:52:06.073"/>
    <p1510:client id="{D8EA8C15-6F1E-434E-BD2E-C43DE910E8AD}" v="2442" dt="2024-10-04T09:58:14.0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Mørk stil 1 – uthev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Mørk stil 1 – utheving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Mørk stil 1 – utheving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Mørk stil 1 – utheving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Temastil 2 – utheving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emastil 2 – utheving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ddels stil 4 – uthev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Middels stil 1 – uthev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Middels stil 3 – utheving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elin Ekeli Rønningsbakk" userId="187300ae-9cb6-416d-8a94-664ca977a24d" providerId="ADAL" clId="{A46BBB59-7C80-47B4-BA79-54295B3E99B8}"/>
    <pc:docChg chg="undo custSel modSld">
      <pc:chgData name="Iselin Ekeli Rønningsbakk" userId="187300ae-9cb6-416d-8a94-664ca977a24d" providerId="ADAL" clId="{A46BBB59-7C80-47B4-BA79-54295B3E99B8}" dt="2024-07-05T07:19:06.314" v="9"/>
      <pc:docMkLst>
        <pc:docMk/>
      </pc:docMkLst>
      <pc:sldChg chg="modSp mod delCm">
        <pc:chgData name="Iselin Ekeli Rønningsbakk" userId="187300ae-9cb6-416d-8a94-664ca977a24d" providerId="ADAL" clId="{A46BBB59-7C80-47B4-BA79-54295B3E99B8}" dt="2024-07-05T07:19:06.314" v="9"/>
        <pc:sldMkLst>
          <pc:docMk/>
          <pc:sldMk cId="1400664593" sldId="275"/>
        </pc:sldMkLst>
        <pc:spChg chg="mod">
          <ac:chgData name="Iselin Ekeli Rønningsbakk" userId="187300ae-9cb6-416d-8a94-664ca977a24d" providerId="ADAL" clId="{A46BBB59-7C80-47B4-BA79-54295B3E99B8}" dt="2024-07-05T07:19:02.123" v="8" actId="404"/>
          <ac:spMkLst>
            <pc:docMk/>
            <pc:sldMk cId="1400664593" sldId="275"/>
            <ac:spMk id="13" creationId="{D3816D81-2F0C-5C31-0215-8B391B6646E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Iselin Ekeli Rønningsbakk" userId="187300ae-9cb6-416d-8a94-664ca977a24d" providerId="ADAL" clId="{A46BBB59-7C80-47B4-BA79-54295B3E99B8}" dt="2024-07-05T07:19:06.314" v="9"/>
              <pc2:cmMkLst xmlns:pc2="http://schemas.microsoft.com/office/powerpoint/2019/9/main/command">
                <pc:docMk/>
                <pc:sldMk cId="1400664593" sldId="275"/>
                <pc2:cmMk id="{1185CF8E-90FD-444C-A1EF-F4250FF46D68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74867ED9-2A23-4D35-8970-EFBC7EB6A6E5}"/>
    <pc:docChg chg="modSld">
      <pc:chgData name="Iselin Ekeli Rønningsbakk" userId="187300ae-9cb6-416d-8a94-664ca977a24d" providerId="ADAL" clId="{74867ED9-2A23-4D35-8970-EFBC7EB6A6E5}" dt="2024-04-09T12:43:52.958" v="9" actId="20577"/>
      <pc:docMkLst>
        <pc:docMk/>
      </pc:docMkLst>
      <pc:sldChg chg="modSp mod">
        <pc:chgData name="Iselin Ekeli Rønningsbakk" userId="187300ae-9cb6-416d-8a94-664ca977a24d" providerId="ADAL" clId="{74867ED9-2A23-4D35-8970-EFBC7EB6A6E5}" dt="2024-04-09T12:43:52.958" v="9" actId="20577"/>
        <pc:sldMkLst>
          <pc:docMk/>
          <pc:sldMk cId="964345901" sldId="269"/>
        </pc:sldMkLst>
        <pc:spChg chg="mod">
          <ac:chgData name="Iselin Ekeli Rønningsbakk" userId="187300ae-9cb6-416d-8a94-664ca977a24d" providerId="ADAL" clId="{74867ED9-2A23-4D35-8970-EFBC7EB6A6E5}" dt="2024-04-09T12:43:52.958" v="9" actId="20577"/>
          <ac:spMkLst>
            <pc:docMk/>
            <pc:sldMk cId="964345901" sldId="269"/>
            <ac:spMk id="5" creationId="{1AB5B9F3-8F6E-FB63-4035-D0B61CCAA3FF}"/>
          </ac:spMkLst>
        </pc:spChg>
      </pc:sldChg>
      <pc:sldChg chg="modSp mod">
        <pc:chgData name="Iselin Ekeli Rønningsbakk" userId="187300ae-9cb6-416d-8a94-664ca977a24d" providerId="ADAL" clId="{74867ED9-2A23-4D35-8970-EFBC7EB6A6E5}" dt="2024-04-09T12:43:43.093" v="4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74867ED9-2A23-4D35-8970-EFBC7EB6A6E5}" dt="2024-04-09T12:43:43.093" v="4" actId="20577"/>
          <ac:spMkLst>
            <pc:docMk/>
            <pc:sldMk cId="4275014000" sldId="270"/>
            <ac:spMk id="7" creationId="{A033AADF-D07F-262B-FDF8-3A80D13F93CB}"/>
          </ac:spMkLst>
        </pc:spChg>
      </pc:sldChg>
    </pc:docChg>
  </pc:docChgLst>
  <pc:docChgLst>
    <pc:chgData name="Iselin Ekeli Rønningsbakk" userId="187300ae-9cb6-416d-8a94-664ca977a24d" providerId="ADAL" clId="{B4E5B0F8-0B27-4C7F-AC1B-93663567327F}"/>
    <pc:docChg chg="modSld">
      <pc:chgData name="Iselin Ekeli Rønningsbakk" userId="187300ae-9cb6-416d-8a94-664ca977a24d" providerId="ADAL" clId="{B4E5B0F8-0B27-4C7F-AC1B-93663567327F}" dt="2024-04-12T09:21:55.420" v="1301"/>
      <pc:docMkLst>
        <pc:docMk/>
      </pc:docMkLst>
      <pc:sldChg chg="modSp mod modCm">
        <pc:chgData name="Iselin Ekeli Rønningsbakk" userId="187300ae-9cb6-416d-8a94-664ca977a24d" providerId="ADAL" clId="{B4E5B0F8-0B27-4C7F-AC1B-93663567327F}" dt="2024-04-12T09:18:23.655" v="1124" actId="14100"/>
        <pc:sldMkLst>
          <pc:docMk/>
          <pc:sldMk cId="964345901" sldId="269"/>
        </pc:sldMkLst>
        <pc:spChg chg="mod">
          <ac:chgData name="Iselin Ekeli Rønningsbakk" userId="187300ae-9cb6-416d-8a94-664ca977a24d" providerId="ADAL" clId="{B4E5B0F8-0B27-4C7F-AC1B-93663567327F}" dt="2024-04-12T09:18:23.655" v="1124" actId="14100"/>
          <ac:spMkLst>
            <pc:docMk/>
            <pc:sldMk cId="964345901" sldId="269"/>
            <ac:spMk id="15" creationId="{04DCDA78-71F1-811A-A7B3-AF6C80100E5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B4E5B0F8-0B27-4C7F-AC1B-93663567327F}" dt="2024-04-12T09:18:13.939" v="1123" actId="6549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Iselin Ekeli Rønningsbakk" userId="187300ae-9cb6-416d-8a94-664ca977a24d" providerId="ADAL" clId="{B4E5B0F8-0B27-4C7F-AC1B-93663567327F}" dt="2024-04-12T09:21:09.545" v="1287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B4E5B0F8-0B27-4C7F-AC1B-93663567327F}" dt="2024-04-12T09:21:09.545" v="1287" actId="20577"/>
          <ac:spMkLst>
            <pc:docMk/>
            <pc:sldMk cId="4275014000" sldId="270"/>
            <ac:spMk id="14" creationId="{21531C8D-908F-3C5D-76AA-208A0DF8D559}"/>
          </ac:spMkLst>
        </pc:spChg>
      </pc:sldChg>
      <pc:sldChg chg="modSp mod delCm modCm">
        <pc:chgData name="Iselin Ekeli Rønningsbakk" userId="187300ae-9cb6-416d-8a94-664ca977a24d" providerId="ADAL" clId="{B4E5B0F8-0B27-4C7F-AC1B-93663567327F}" dt="2024-04-12T09:21:55.420" v="1301"/>
        <pc:sldMkLst>
          <pc:docMk/>
          <pc:sldMk cId="1400664593" sldId="275"/>
        </pc:sldMkLst>
        <pc:spChg chg="mod">
          <ac:chgData name="Iselin Ekeli Rønningsbakk" userId="187300ae-9cb6-416d-8a94-664ca977a24d" providerId="ADAL" clId="{B4E5B0F8-0B27-4C7F-AC1B-93663567327F}" dt="2024-04-12T09:21:48.592" v="1299" actId="6549"/>
          <ac:spMkLst>
            <pc:docMk/>
            <pc:sldMk cId="1400664593" sldId="275"/>
            <ac:spMk id="13" creationId="{D3816D81-2F0C-5C31-0215-8B391B6646E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 modRxn">
              <pc226:chgData name="Iselin Ekeli Rønningsbakk" userId="187300ae-9cb6-416d-8a94-664ca977a24d" providerId="ADAL" clId="{B4E5B0F8-0B27-4C7F-AC1B-93663567327F}" dt="2024-04-12T09:21:55.420" v="1301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AC2F6FF7-F6D8-4AFE-B906-DC35355E9A54}"/>
    <pc:docChg chg="modSld">
      <pc:chgData name="Iselin Ekeli Rønningsbakk" userId="187300ae-9cb6-416d-8a94-664ca977a24d" providerId="ADAL" clId="{AC2F6FF7-F6D8-4AFE-B906-DC35355E9A54}" dt="2024-08-05T12:49:30.545" v="1" actId="122"/>
      <pc:docMkLst>
        <pc:docMk/>
      </pc:docMkLst>
      <pc:sldChg chg="modSp mod">
        <pc:chgData name="Iselin Ekeli Rønningsbakk" userId="187300ae-9cb6-416d-8a94-664ca977a24d" providerId="ADAL" clId="{AC2F6FF7-F6D8-4AFE-B906-DC35355E9A54}" dt="2024-08-05T12:49:30.545" v="1" actId="122"/>
        <pc:sldMkLst>
          <pc:docMk/>
          <pc:sldMk cId="362544367" sldId="264"/>
        </pc:sldMkLst>
        <pc:graphicFrameChg chg="modGraphic">
          <ac:chgData name="Iselin Ekeli Rønningsbakk" userId="187300ae-9cb6-416d-8a94-664ca977a24d" providerId="ADAL" clId="{AC2F6FF7-F6D8-4AFE-B906-DC35355E9A54}" dt="2024-08-05T12:49:30.545" v="1" actId="122"/>
          <ac:graphicFrameMkLst>
            <pc:docMk/>
            <pc:sldMk cId="362544367" sldId="264"/>
            <ac:graphicFrameMk id="12" creationId="{6772965F-CB17-3B6D-0530-7DDA24BA3BA3}"/>
          </ac:graphicFrameMkLst>
        </pc:graphicFrameChg>
      </pc:sldChg>
      <pc:sldChg chg="delCm">
        <pc:chgData name="Iselin Ekeli Rønningsbakk" userId="187300ae-9cb6-416d-8a94-664ca977a24d" providerId="ADAL" clId="{AC2F6FF7-F6D8-4AFE-B906-DC35355E9A54}" dt="2024-08-05T12:42:02.450" v="0"/>
        <pc:sldMkLst>
          <pc:docMk/>
          <pc:sldMk cId="4169780862" sldId="27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Iselin Ekeli Rønningsbakk" userId="187300ae-9cb6-416d-8a94-664ca977a24d" providerId="ADAL" clId="{AC2F6FF7-F6D8-4AFE-B906-DC35355E9A54}" dt="2024-08-05T12:42:02.450" v="0"/>
              <pc2:cmMkLst xmlns:pc2="http://schemas.microsoft.com/office/powerpoint/2019/9/main/command">
                <pc:docMk/>
                <pc:sldMk cId="4169780862" sldId="274"/>
                <pc2:cmMk id="{2E9BC3A8-1C3E-41AF-825C-594DD1DF5CC5}"/>
              </pc2:cmMkLst>
            </pc226:cmChg>
          </p:ext>
        </pc:extLst>
      </pc:sldChg>
    </pc:docChg>
  </pc:docChgLst>
  <pc:docChgLst>
    <pc:chgData name="Lars Tennbakk Bockman" userId="5a235df0-e381-4c4c-99ce-24b4b21fb9d1" providerId="ADAL" clId="{4DEB8D85-AF20-4D2D-BADC-997CA91D8BCE}"/>
    <pc:docChg chg="modSld">
      <pc:chgData name="Lars Tennbakk Bockman" userId="5a235df0-e381-4c4c-99ce-24b4b21fb9d1" providerId="ADAL" clId="{4DEB8D85-AF20-4D2D-BADC-997CA91D8BCE}" dt="2024-09-12T11:24:09.756" v="69" actId="20577"/>
      <pc:docMkLst>
        <pc:docMk/>
      </pc:docMkLst>
    </pc:docChg>
  </pc:docChgLst>
  <pc:docChgLst>
    <pc:chgData name="Iselin Ekeli Rønningsbakk" userId="187300ae-9cb6-416d-8a94-664ca977a24d" providerId="ADAL" clId="{76BCABE4-86E4-4277-BE13-1E69073FECE9}"/>
    <pc:docChg chg="modSld">
      <pc:chgData name="Iselin Ekeli Rønningsbakk" userId="187300ae-9cb6-416d-8a94-664ca977a24d" providerId="ADAL" clId="{76BCABE4-86E4-4277-BE13-1E69073FECE9}" dt="2024-07-03T10:18:12.052" v="1008" actId="6549"/>
      <pc:docMkLst>
        <pc:docMk/>
      </pc:docMkLst>
      <pc:sldChg chg="modSp mod">
        <pc:chgData name="Iselin Ekeli Rønningsbakk" userId="187300ae-9cb6-416d-8a94-664ca977a24d" providerId="ADAL" clId="{76BCABE4-86E4-4277-BE13-1E69073FECE9}" dt="2024-07-03T08:43:21.612" v="36" actId="20577"/>
        <pc:sldMkLst>
          <pc:docMk/>
          <pc:sldMk cId="3149972175" sldId="261"/>
        </pc:sldMkLst>
        <pc:spChg chg="mod">
          <ac:chgData name="Iselin Ekeli Rønningsbakk" userId="187300ae-9cb6-416d-8a94-664ca977a24d" providerId="ADAL" clId="{76BCABE4-86E4-4277-BE13-1E69073FECE9}" dt="2024-07-03T08:43:21.612" v="36" actId="20577"/>
          <ac:spMkLst>
            <pc:docMk/>
            <pc:sldMk cId="3149972175" sldId="261"/>
            <ac:spMk id="15" creationId="{71CD328A-FCBF-98DB-A3A2-36A13A7E9980}"/>
          </ac:spMkLst>
        </pc:spChg>
      </pc:sldChg>
      <pc:sldChg chg="modSp mod">
        <pc:chgData name="Iselin Ekeli Rønningsbakk" userId="187300ae-9cb6-416d-8a94-664ca977a24d" providerId="ADAL" clId="{76BCABE4-86E4-4277-BE13-1E69073FECE9}" dt="2024-07-03T10:18:12.052" v="1008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76BCABE4-86E4-4277-BE13-1E69073FECE9}" dt="2024-07-03T10:18:12.052" v="1008" actId="6549"/>
          <ac:spMkLst>
            <pc:docMk/>
            <pc:sldMk cId="964345901" sldId="269"/>
            <ac:spMk id="15" creationId="{04DCDA78-71F1-811A-A7B3-AF6C80100E58}"/>
          </ac:spMkLst>
        </pc:spChg>
      </pc:sldChg>
    </pc:docChg>
  </pc:docChgLst>
  <pc:docChgLst>
    <pc:chgData name="Lars Tennbakk Bockman" userId="S::lars.bockman@fornybarnorge.no::5a235df0-e381-4c4c-99ce-24b4b21fb9d1" providerId="AD" clId="Web-{F9C7C0CC-46DD-594A-BC45-E12A346A37D9}"/>
    <pc:docChg chg="modSld">
      <pc:chgData name="Lars Tennbakk Bockman" userId="S::lars.bockman@fornybarnorge.no::5a235df0-e381-4c4c-99ce-24b4b21fb9d1" providerId="AD" clId="Web-{F9C7C0CC-46DD-594A-BC45-E12A346A37D9}" dt="2024-09-11T08:27:05.964" v="9" actId="20577"/>
      <pc:docMkLst>
        <pc:docMk/>
      </pc:docMkLst>
    </pc:docChg>
  </pc:docChgLst>
  <pc:docChgLst>
    <pc:chgData name="Lars Tennbakk Bockman" userId="S::lars.bockman@fornybarnorge.no::5a235df0-e381-4c4c-99ce-24b4b21fb9d1" providerId="AD" clId="Web-{6A2BD51F-F03C-92F3-41DE-FF0876E0A761}"/>
    <pc:docChg chg="modSld">
      <pc:chgData name="Lars Tennbakk Bockman" userId="S::lars.bockman@fornybarnorge.no::5a235df0-e381-4c4c-99ce-24b4b21fb9d1" providerId="AD" clId="Web-{6A2BD51F-F03C-92F3-41DE-FF0876E0A761}" dt="2024-06-05T13:56:33.387" v="45" actId="20577"/>
      <pc:docMkLst>
        <pc:docMk/>
      </pc:docMkLst>
    </pc:docChg>
  </pc:docChgLst>
  <pc:docChgLst>
    <pc:chgData name="Iselin Ekeli Rønningsbakk" userId="187300ae-9cb6-416d-8a94-664ca977a24d" providerId="ADAL" clId="{8BC88EEB-960C-4923-AE0E-E6E6F3F4E1BA}"/>
    <pc:docChg chg="undo custSel addSld delSld modSld">
      <pc:chgData name="Iselin Ekeli Rønningsbakk" userId="187300ae-9cb6-416d-8a94-664ca977a24d" providerId="ADAL" clId="{8BC88EEB-960C-4923-AE0E-E6E6F3F4E1BA}" dt="2024-10-03T11:52:06.073" v="559" actId="6549"/>
      <pc:docMkLst>
        <pc:docMk/>
      </pc:docMkLst>
      <pc:sldChg chg="add del setBg">
        <pc:chgData name="Iselin Ekeli Rønningsbakk" userId="187300ae-9cb6-416d-8a94-664ca977a24d" providerId="ADAL" clId="{8BC88EEB-960C-4923-AE0E-E6E6F3F4E1BA}" dt="2024-10-03T11:15:18.081" v="7"/>
        <pc:sldMkLst>
          <pc:docMk/>
          <pc:sldMk cId="1380827816" sldId="262"/>
        </pc:sldMkLst>
      </pc:sldChg>
    </pc:docChg>
  </pc:docChgLst>
  <pc:docChgLst>
    <pc:chgData name="Iselin Ekeli Rønningsbakk" userId="187300ae-9cb6-416d-8a94-664ca977a24d" providerId="ADAL" clId="{F1D83740-C90A-443B-A813-B62DF0466D34}"/>
    <pc:docChg chg="">
      <pc:chgData name="Iselin Ekeli Rønningsbakk" userId="187300ae-9cb6-416d-8a94-664ca977a24d" providerId="ADAL" clId="{F1D83740-C90A-443B-A813-B62DF0466D34}" dt="2024-04-10T11:40:34.581" v="0"/>
      <pc:docMkLst>
        <pc:docMk/>
      </pc:docMkLst>
      <pc:sldChg chg="addCm">
        <pc:chgData name="Iselin Ekeli Rønningsbakk" userId="187300ae-9cb6-416d-8a94-664ca977a24d" providerId="ADAL" clId="{F1D83740-C90A-443B-A813-B62DF0466D34}" dt="2024-04-10T11:40:34.581" v="0"/>
        <pc:sldMkLst>
          <pc:docMk/>
          <pc:sldMk cId="964345901" sldId="26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F1D83740-C90A-443B-A813-B62DF0466D34}" dt="2024-04-10T11:40:34.581" v="0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D8EA8C15-6F1E-434E-BD2E-C43DE910E8AD}"/>
    <pc:docChg chg="undo custSel modSld">
      <pc:chgData name="Iselin Ekeli Rønningsbakk" userId="187300ae-9cb6-416d-8a94-664ca977a24d" providerId="ADAL" clId="{D8EA8C15-6F1E-434E-BD2E-C43DE910E8AD}" dt="2024-10-04T09:57:43.192" v="2671" actId="255"/>
      <pc:docMkLst>
        <pc:docMk/>
      </pc:docMkLst>
      <pc:sldChg chg="modSp mod modCm">
        <pc:chgData name="Iselin Ekeli Rønningsbakk" userId="187300ae-9cb6-416d-8a94-664ca977a24d" providerId="ADAL" clId="{D8EA8C15-6F1E-434E-BD2E-C43DE910E8AD}" dt="2024-10-04T07:55:31.222" v="665" actId="6549"/>
        <pc:sldMkLst>
          <pc:docMk/>
          <pc:sldMk cId="4148148830" sldId="259"/>
        </pc:sldMkLst>
        <pc:spChg chg="mod">
          <ac:chgData name="Iselin Ekeli Rønningsbakk" userId="187300ae-9cb6-416d-8a94-664ca977a24d" providerId="ADAL" clId="{D8EA8C15-6F1E-434E-BD2E-C43DE910E8AD}" dt="2024-10-04T07:55:31.222" v="665" actId="6549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D8EA8C15-6F1E-434E-BD2E-C43DE910E8AD}" dt="2024-10-04T07:55:31.222" v="665" actId="6549"/>
              <pc2:cmMkLst xmlns:pc2="http://schemas.microsoft.com/office/powerpoint/2019/9/main/command">
                <pc:docMk/>
                <pc:sldMk cId="4148148830" sldId="259"/>
                <pc2:cmMk id="{83A35CC2-E05B-4685-AD7D-7EB6C0D18964}"/>
              </pc2:cmMkLst>
            </pc226:cmChg>
          </p:ext>
        </pc:extLst>
      </pc:sldChg>
      <pc:sldChg chg="delSp modSp mod">
        <pc:chgData name="Iselin Ekeli Rønningsbakk" userId="187300ae-9cb6-416d-8a94-664ca977a24d" providerId="ADAL" clId="{D8EA8C15-6F1E-434E-BD2E-C43DE910E8AD}" dt="2024-10-04T09:57:43.192" v="2671" actId="255"/>
        <pc:sldMkLst>
          <pc:docMk/>
          <pc:sldMk cId="3809428704" sldId="268"/>
        </pc:sldMkLst>
        <pc:spChg chg="mod">
          <ac:chgData name="Iselin Ekeli Rønningsbakk" userId="187300ae-9cb6-416d-8a94-664ca977a24d" providerId="ADAL" clId="{D8EA8C15-6F1E-434E-BD2E-C43DE910E8AD}" dt="2024-10-04T09:57:43.192" v="2671" actId="255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Iselin Ekeli Rønningsbakk" userId="187300ae-9cb6-416d-8a94-664ca977a24d" providerId="ADAL" clId="{D8EA8C15-6F1E-434E-BD2E-C43DE910E8AD}" dt="2024-10-04T09:55:37.176" v="2586" actId="6549"/>
          <ac:spMkLst>
            <pc:docMk/>
            <pc:sldMk cId="3809428704" sldId="268"/>
            <ac:spMk id="3" creationId="{8A3EFEB1-D7F7-A46E-7DED-AE462CEAB1A0}"/>
          </ac:spMkLst>
        </pc:spChg>
        <pc:spChg chg="del mod">
          <ac:chgData name="Iselin Ekeli Rønningsbakk" userId="187300ae-9cb6-416d-8a94-664ca977a24d" providerId="ADAL" clId="{D8EA8C15-6F1E-434E-BD2E-C43DE910E8AD}" dt="2024-10-04T09:52:23.326" v="2244"/>
          <ac:spMkLst>
            <pc:docMk/>
            <pc:sldMk cId="3809428704" sldId="268"/>
            <ac:spMk id="4" creationId="{BE7CE246-E4ED-6235-23CC-FAC201DE393A}"/>
          </ac:spMkLst>
        </pc:spChg>
        <pc:spChg chg="mod">
          <ac:chgData name="Iselin Ekeli Rønningsbakk" userId="187300ae-9cb6-416d-8a94-664ca977a24d" providerId="ADAL" clId="{D8EA8C15-6F1E-434E-BD2E-C43DE910E8AD}" dt="2024-10-04T07:53:05.670" v="525" actId="1076"/>
          <ac:spMkLst>
            <pc:docMk/>
            <pc:sldMk cId="3809428704" sldId="268"/>
            <ac:spMk id="27" creationId="{D4479EF9-3012-3964-A9D0-6C16A3C05105}"/>
          </ac:spMkLst>
        </pc:spChg>
      </pc:sldChg>
      <pc:sldChg chg="modSp mod">
        <pc:chgData name="Iselin Ekeli Rønningsbakk" userId="187300ae-9cb6-416d-8a94-664ca977a24d" providerId="ADAL" clId="{D8EA8C15-6F1E-434E-BD2E-C43DE910E8AD}" dt="2024-10-04T07:43:42.242" v="282" actId="1076"/>
        <pc:sldMkLst>
          <pc:docMk/>
          <pc:sldMk cId="964345901" sldId="269"/>
        </pc:sldMkLst>
        <pc:spChg chg="mod">
          <ac:chgData name="Iselin Ekeli Rønningsbakk" userId="187300ae-9cb6-416d-8a94-664ca977a24d" providerId="ADAL" clId="{D8EA8C15-6F1E-434E-BD2E-C43DE910E8AD}" dt="2024-10-04T07:43:42.242" v="282" actId="1076"/>
          <ac:spMkLst>
            <pc:docMk/>
            <pc:sldMk cId="964345901" sldId="269"/>
            <ac:spMk id="6" creationId="{98A31114-AE4A-2C3A-5034-C60474D62470}"/>
          </ac:spMkLst>
        </pc:spChg>
        <pc:spChg chg="mod">
          <ac:chgData name="Iselin Ekeli Rønningsbakk" userId="187300ae-9cb6-416d-8a94-664ca977a24d" providerId="ADAL" clId="{D8EA8C15-6F1E-434E-BD2E-C43DE910E8AD}" dt="2024-10-04T07:43:30.999" v="281" actId="6549"/>
          <ac:spMkLst>
            <pc:docMk/>
            <pc:sldMk cId="964345901" sldId="269"/>
            <ac:spMk id="15" creationId="{04DCDA78-71F1-811A-A7B3-AF6C80100E58}"/>
          </ac:spMkLst>
        </pc:spChg>
      </pc:sldChg>
      <pc:sldChg chg="modSp mod">
        <pc:chgData name="Iselin Ekeli Rønningsbakk" userId="187300ae-9cb6-416d-8a94-664ca977a24d" providerId="ADAL" clId="{D8EA8C15-6F1E-434E-BD2E-C43DE910E8AD}" dt="2024-10-04T07:48:33.204" v="523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D8EA8C15-6F1E-434E-BD2E-C43DE910E8AD}" dt="2024-10-04T07:48:33.204" v="523" actId="20577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Lars Tennbakk Bockman" userId="5a235df0-e381-4c4c-99ce-24b4b21fb9d1" providerId="ADAL" clId="{F5B85507-1A4C-4B3D-84EF-F1825E13FB00}"/>
    <pc:docChg chg="undo custSel modSld">
      <pc:chgData name="Lars Tennbakk Bockman" userId="5a235df0-e381-4c4c-99ce-24b4b21fb9d1" providerId="ADAL" clId="{F5B85507-1A4C-4B3D-84EF-F1825E13FB00}" dt="2024-08-02T10:53:35.473" v="6180" actId="20577"/>
      <pc:docMkLst>
        <pc:docMk/>
      </pc:docMkLst>
      <pc:sldChg chg="modSp mod">
        <pc:chgData name="Lars Tennbakk Bockman" userId="5a235df0-e381-4c4c-99ce-24b4b21fb9d1" providerId="ADAL" clId="{F5B85507-1A4C-4B3D-84EF-F1825E13FB00}" dt="2024-08-02T10:53:11.563" v="6163" actId="20577"/>
        <pc:sldMkLst>
          <pc:docMk/>
          <pc:sldMk cId="4148148830" sldId="259"/>
        </pc:sldMkLst>
        <pc:spChg chg="mod">
          <ac:chgData name="Lars Tennbakk Bockman" userId="5a235df0-e381-4c4c-99ce-24b4b21fb9d1" providerId="ADAL" clId="{F5B85507-1A4C-4B3D-84EF-F1825E13FB00}" dt="2024-08-02T10:53:11.563" v="6163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modSp mod">
        <pc:chgData name="Lars Tennbakk Bockman" userId="5a235df0-e381-4c4c-99ce-24b4b21fb9d1" providerId="ADAL" clId="{F5B85507-1A4C-4B3D-84EF-F1825E13FB00}" dt="2024-08-02T10:51:30.670" v="6072" actId="20577"/>
        <pc:sldMkLst>
          <pc:docMk/>
          <pc:sldMk cId="3149972175" sldId="261"/>
        </pc:sldMkLst>
        <pc:spChg chg="mod">
          <ac:chgData name="Lars Tennbakk Bockman" userId="5a235df0-e381-4c4c-99ce-24b4b21fb9d1" providerId="ADAL" clId="{F5B85507-1A4C-4B3D-84EF-F1825E13FB00}" dt="2024-07-30T13:10:35.759" v="0" actId="20577"/>
          <ac:spMkLst>
            <pc:docMk/>
            <pc:sldMk cId="3149972175" sldId="261"/>
            <ac:spMk id="2" creationId="{EB808BFC-B71A-C9E5-5827-2A0376474563}"/>
          </ac:spMkLst>
        </pc:spChg>
        <pc:spChg chg="mod">
          <ac:chgData name="Lars Tennbakk Bockman" userId="5a235df0-e381-4c4c-99ce-24b4b21fb9d1" providerId="ADAL" clId="{F5B85507-1A4C-4B3D-84EF-F1825E13FB00}" dt="2024-08-02T10:51:30.670" v="6072" actId="20577"/>
          <ac:spMkLst>
            <pc:docMk/>
            <pc:sldMk cId="3149972175" sldId="261"/>
            <ac:spMk id="15" creationId="{71CD328A-FCBF-98DB-A3A2-36A13A7E9980}"/>
          </ac:spMkLst>
        </pc:spChg>
      </pc:sldChg>
      <pc:sldChg chg="addSp delSp modSp mod">
        <pc:chgData name="Lars Tennbakk Bockman" userId="5a235df0-e381-4c4c-99ce-24b4b21fb9d1" providerId="ADAL" clId="{F5B85507-1A4C-4B3D-84EF-F1825E13FB00}" dt="2024-08-02T09:52:57.838" v="1579" actId="20577"/>
        <pc:sldMkLst>
          <pc:docMk/>
          <pc:sldMk cId="362544367" sldId="264"/>
        </pc:sldMkLst>
        <pc:spChg chg="mod">
          <ac:chgData name="Lars Tennbakk Bockman" userId="5a235df0-e381-4c4c-99ce-24b4b21fb9d1" providerId="ADAL" clId="{F5B85507-1A4C-4B3D-84EF-F1825E13FB00}" dt="2024-08-02T09:52:57.838" v="1579" actId="20577"/>
          <ac:spMkLst>
            <pc:docMk/>
            <pc:sldMk cId="362544367" sldId="264"/>
            <ac:spMk id="2" creationId="{5213922F-444B-9587-AFC4-5C4C6A8D8FDB}"/>
          </ac:spMkLst>
        </pc:spChg>
        <pc:spChg chg="mod">
          <ac:chgData name="Lars Tennbakk Bockman" userId="5a235df0-e381-4c4c-99ce-24b4b21fb9d1" providerId="ADAL" clId="{F5B85507-1A4C-4B3D-84EF-F1825E13FB00}" dt="2024-08-02T09:52:27.424" v="1565" actId="14100"/>
          <ac:spMkLst>
            <pc:docMk/>
            <pc:sldMk cId="362544367" sldId="264"/>
            <ac:spMk id="3" creationId="{127DA9E0-2CEF-FE7D-6AE9-33C8E0D6BC4E}"/>
          </ac:spMkLst>
        </pc:spChg>
        <pc:spChg chg="mod">
          <ac:chgData name="Lars Tennbakk Bockman" userId="5a235df0-e381-4c4c-99ce-24b4b21fb9d1" providerId="ADAL" clId="{F5B85507-1A4C-4B3D-84EF-F1825E13FB00}" dt="2024-08-02T09:52:38.879" v="1567" actId="14100"/>
          <ac:spMkLst>
            <pc:docMk/>
            <pc:sldMk cId="362544367" sldId="264"/>
            <ac:spMk id="4" creationId="{113A1B97-60AB-A82D-7695-603B4FDE308B}"/>
          </ac:spMkLst>
        </pc:spChg>
        <pc:spChg chg="mod">
          <ac:chgData name="Lars Tennbakk Bockman" userId="5a235df0-e381-4c4c-99ce-24b4b21fb9d1" providerId="ADAL" clId="{F5B85507-1A4C-4B3D-84EF-F1825E13FB00}" dt="2024-08-02T09:52:24.169" v="1564" actId="14100"/>
          <ac:spMkLst>
            <pc:docMk/>
            <pc:sldMk cId="362544367" sldId="264"/>
            <ac:spMk id="6" creationId="{43281BD6-61B8-4DBB-3558-178E91D04924}"/>
          </ac:spMkLst>
        </pc:spChg>
        <pc:spChg chg="mod">
          <ac:chgData name="Lars Tennbakk Bockman" userId="5a235df0-e381-4c4c-99ce-24b4b21fb9d1" providerId="ADAL" clId="{F5B85507-1A4C-4B3D-84EF-F1825E13FB00}" dt="2024-08-02T09:52:30.208" v="1566" actId="14100"/>
          <ac:spMkLst>
            <pc:docMk/>
            <pc:sldMk cId="362544367" sldId="264"/>
            <ac:spMk id="11" creationId="{08E89037-2C15-7BA4-E420-580B2668841D}"/>
          </ac:spMkLst>
        </pc:spChg>
        <pc:spChg chg="mod">
          <ac:chgData name="Lars Tennbakk Bockman" userId="5a235df0-e381-4c4c-99ce-24b4b21fb9d1" providerId="ADAL" clId="{F5B85507-1A4C-4B3D-84EF-F1825E13FB00}" dt="2024-08-02T09:52:42.698" v="1568" actId="14100"/>
          <ac:spMkLst>
            <pc:docMk/>
            <pc:sldMk cId="362544367" sldId="264"/>
            <ac:spMk id="27" creationId="{1D503F1E-631A-06BB-9FA6-AB5D4E68E9D8}"/>
          </ac:spMkLst>
        </pc:spChg>
        <pc:graphicFrameChg chg="add del">
          <ac:chgData name="Lars Tennbakk Bockman" userId="5a235df0-e381-4c4c-99ce-24b4b21fb9d1" providerId="ADAL" clId="{F5B85507-1A4C-4B3D-84EF-F1825E13FB00}" dt="2024-08-02T09:51:18.073" v="1551" actId="478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del mod">
          <ac:chgData name="Lars Tennbakk Bockman" userId="5a235df0-e381-4c4c-99ce-24b4b21fb9d1" providerId="ADAL" clId="{F5B85507-1A4C-4B3D-84EF-F1825E13FB00}" dt="2024-08-02T09:51:06.107" v="1549" actId="478"/>
          <ac:graphicFrameMkLst>
            <pc:docMk/>
            <pc:sldMk cId="362544367" sldId="264"/>
            <ac:graphicFrameMk id="10" creationId="{2C3AA0EC-42A7-8EE4-3DEB-AF4FC263F935}"/>
          </ac:graphicFrameMkLst>
        </pc:graphicFrameChg>
        <pc:graphicFrameChg chg="add mod modGraphic">
          <ac:chgData name="Lars Tennbakk Bockman" userId="5a235df0-e381-4c4c-99ce-24b4b21fb9d1" providerId="ADAL" clId="{F5B85507-1A4C-4B3D-84EF-F1825E13FB00}" dt="2024-08-02T09:52:56.680" v="1578" actId="20577"/>
          <ac:graphicFrameMkLst>
            <pc:docMk/>
            <pc:sldMk cId="362544367" sldId="264"/>
            <ac:graphicFrameMk id="12" creationId="{6772965F-CB17-3B6D-0530-7DDA24BA3BA3}"/>
          </ac:graphicFrameMkLst>
        </pc:graphicFrameChg>
      </pc:sldChg>
      <pc:sldChg chg="addSp delSp modSp mod delCm">
        <pc:chgData name="Lars Tennbakk Bockman" userId="5a235df0-e381-4c4c-99ce-24b4b21fb9d1" providerId="ADAL" clId="{F5B85507-1A4C-4B3D-84EF-F1825E13FB00}" dt="2024-08-02T10:52:40.388" v="6148" actId="20577"/>
        <pc:sldMkLst>
          <pc:docMk/>
          <pc:sldMk cId="3809428704" sldId="268"/>
        </pc:sldMkLst>
        <pc:spChg chg="add mod">
          <ac:chgData name="Lars Tennbakk Bockman" userId="5a235df0-e381-4c4c-99ce-24b4b21fb9d1" providerId="ADAL" clId="{F5B85507-1A4C-4B3D-84EF-F1825E13FB00}" dt="2024-08-02T10:43:04.796" v="5491" actId="20577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Lars Tennbakk Bockman" userId="5a235df0-e381-4c4c-99ce-24b4b21fb9d1" providerId="ADAL" clId="{F5B85507-1A4C-4B3D-84EF-F1825E13FB00}" dt="2024-08-02T10:27:11.019" v="3994" actId="20577"/>
          <ac:spMkLst>
            <pc:docMk/>
            <pc:sldMk cId="3809428704" sldId="268"/>
            <ac:spMk id="3" creationId="{8A3EFEB1-D7F7-A46E-7DED-AE462CEAB1A0}"/>
          </ac:spMkLst>
        </pc:spChg>
        <pc:spChg chg="del">
          <ac:chgData name="Lars Tennbakk Bockman" userId="5a235df0-e381-4c4c-99ce-24b4b21fb9d1" providerId="ADAL" clId="{F5B85507-1A4C-4B3D-84EF-F1825E13FB00}" dt="2024-08-02T10:32:42.180" v="3995" actId="478"/>
          <ac:spMkLst>
            <pc:docMk/>
            <pc:sldMk cId="3809428704" sldId="268"/>
            <ac:spMk id="4" creationId="{EDE8794F-575C-3BB7-2A52-BE419AB5A1C1}"/>
          </ac:spMkLst>
        </pc:spChg>
        <pc:spChg chg="mod">
          <ac:chgData name="Lars Tennbakk Bockman" userId="5a235df0-e381-4c4c-99ce-24b4b21fb9d1" providerId="ADAL" clId="{F5B85507-1A4C-4B3D-84EF-F1825E13FB00}" dt="2024-08-02T10:52:40.388" v="6148" actId="20577"/>
          <ac:spMkLst>
            <pc:docMk/>
            <pc:sldMk cId="3809428704" sldId="268"/>
            <ac:spMk id="27" creationId="{D4479EF9-3012-3964-A9D0-6C16A3C0510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F5B85507-1A4C-4B3D-84EF-F1825E13FB00}" dt="2024-08-02T10:22:15.492" v="3868"/>
              <pc2:cmMkLst xmlns:pc2="http://schemas.microsoft.com/office/powerpoint/2019/9/main/command">
                <pc:docMk/>
                <pc:sldMk cId="3809428704" sldId="268"/>
                <pc2:cmMk id="{3C57D9D5-FC1D-42BD-8928-94460D7BED35}"/>
              </pc2:cmMkLst>
            </pc226:cmChg>
          </p:ext>
        </pc:extLst>
      </pc:sldChg>
      <pc:sldChg chg="modSp mod">
        <pc:chgData name="Lars Tennbakk Bockman" userId="5a235df0-e381-4c4c-99ce-24b4b21fb9d1" providerId="ADAL" clId="{F5B85507-1A4C-4B3D-84EF-F1825E13FB00}" dt="2024-08-02T10:51:55.921" v="6145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F5B85507-1A4C-4B3D-84EF-F1825E13FB00}" dt="2024-07-30T13:39:21.915" v="249" actId="20577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F5B85507-1A4C-4B3D-84EF-F1825E13FB00}" dt="2024-08-02T10:51:55.921" v="6145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F5B85507-1A4C-4B3D-84EF-F1825E13FB00}" dt="2024-07-30T13:39:04.114" v="232" actId="1482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F5B85507-1A4C-4B3D-84EF-F1825E13FB00}" dt="2024-08-02T09:59:16.193" v="1699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Tennbakk Bockman" userId="5a235df0-e381-4c4c-99ce-24b4b21fb9d1" providerId="ADAL" clId="{F5B85507-1A4C-4B3D-84EF-F1825E13FB00}" dt="2024-07-30T13:39:14.739" v="234" actId="14826"/>
          <ac:picMkLst>
            <pc:docMk/>
            <pc:sldMk cId="964345901" sldId="269"/>
            <ac:picMk id="19" creationId="{48D81E10-A362-0BE0-5A29-09482A073F28}"/>
          </ac:picMkLst>
        </pc:picChg>
      </pc:sldChg>
      <pc:sldChg chg="addSp modSp mod">
        <pc:chgData name="Lars Tennbakk Bockman" userId="5a235df0-e381-4c4c-99ce-24b4b21fb9d1" providerId="ADAL" clId="{F5B85507-1A4C-4B3D-84EF-F1825E13FB00}" dt="2024-08-02T10:11:39.019" v="2420" actId="20577"/>
        <pc:sldMkLst>
          <pc:docMk/>
          <pc:sldMk cId="4275014000" sldId="270"/>
        </pc:sldMkLst>
        <pc:spChg chg="add mod">
          <ac:chgData name="Lars Tennbakk Bockman" userId="5a235df0-e381-4c4c-99ce-24b4b21fb9d1" providerId="ADAL" clId="{F5B85507-1A4C-4B3D-84EF-F1825E13FB00}" dt="2024-08-02T09:07:51.784" v="1543" actId="1076"/>
          <ac:spMkLst>
            <pc:docMk/>
            <pc:sldMk cId="4275014000" sldId="270"/>
            <ac:spMk id="8" creationId="{9F768446-0AB2-B3E1-3333-88CAAE767719}"/>
          </ac:spMkLst>
        </pc:spChg>
        <pc:spChg chg="mod">
          <ac:chgData name="Lars Tennbakk Bockman" userId="5a235df0-e381-4c4c-99ce-24b4b21fb9d1" providerId="ADAL" clId="{F5B85507-1A4C-4B3D-84EF-F1825E13FB00}" dt="2024-08-02T10:06:07.283" v="2043" actId="20577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F5B85507-1A4C-4B3D-84EF-F1825E13FB00}" dt="2024-08-02T10:11:39.019" v="2420" actId="20577"/>
          <ac:spMkLst>
            <pc:docMk/>
            <pc:sldMk cId="4275014000" sldId="270"/>
            <ac:spMk id="14" creationId="{21531C8D-908F-3C5D-76AA-208A0DF8D559}"/>
          </ac:spMkLst>
        </pc:spChg>
        <pc:picChg chg="mod">
          <ac:chgData name="Lars Tennbakk Bockman" userId="5a235df0-e381-4c4c-99ce-24b4b21fb9d1" providerId="ADAL" clId="{F5B85507-1A4C-4B3D-84EF-F1825E13FB00}" dt="2024-07-30T13:39:35.708" v="250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F5B85507-1A4C-4B3D-84EF-F1825E13FB00}" dt="2024-08-02T09:06:57.384" v="1499" actId="14826"/>
          <ac:picMkLst>
            <pc:docMk/>
            <pc:sldMk cId="4275014000" sldId="270"/>
            <ac:picMk id="5" creationId="{1FC70556-B41D-FA15-EDBD-21B7105AEC8B}"/>
          </ac:picMkLst>
        </pc:picChg>
        <pc:picChg chg="mod">
          <ac:chgData name="Lars Tennbakk Bockman" userId="5a235df0-e381-4c4c-99ce-24b4b21fb9d1" providerId="ADAL" clId="{F5B85507-1A4C-4B3D-84EF-F1825E13FB00}" dt="2024-07-30T13:39:40.537" v="251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Tennbakk Bockman" userId="5a235df0-e381-4c4c-99ce-24b4b21fb9d1" providerId="ADAL" clId="{F5B85507-1A4C-4B3D-84EF-F1825E13FB00}" dt="2024-08-02T10:53:35.473" v="6180" actId="20577"/>
        <pc:sldMkLst>
          <pc:docMk/>
          <pc:sldMk cId="2053668892" sldId="273"/>
        </pc:sldMkLst>
        <pc:spChg chg="mod">
          <ac:chgData name="Lars Tennbakk Bockman" userId="5a235df0-e381-4c4c-99ce-24b4b21fb9d1" providerId="ADAL" clId="{F5B85507-1A4C-4B3D-84EF-F1825E13FB00}" dt="2024-08-02T10:53:35.473" v="6180" actId="20577"/>
          <ac:spMkLst>
            <pc:docMk/>
            <pc:sldMk cId="2053668892" sldId="273"/>
            <ac:spMk id="9" creationId="{B2E2DCC4-3775-3A0B-A70F-0A1A7ADFC6B2}"/>
          </ac:spMkLst>
        </pc:spChg>
      </pc:sldChg>
      <pc:sldChg chg="modSp mod">
        <pc:chgData name="Lars Tennbakk Bockman" userId="5a235df0-e381-4c4c-99ce-24b4b21fb9d1" providerId="ADAL" clId="{F5B85507-1A4C-4B3D-84EF-F1825E13FB00}" dt="2024-08-02T10:03:06.956" v="1984" actId="2161"/>
        <pc:sldMkLst>
          <pc:docMk/>
          <pc:sldMk cId="4169780862" sldId="274"/>
        </pc:sldMkLst>
        <pc:graphicFrameChg chg="modGraphic">
          <ac:chgData name="Lars Tennbakk Bockman" userId="5a235df0-e381-4c4c-99ce-24b4b21fb9d1" providerId="ADAL" clId="{F5B85507-1A4C-4B3D-84EF-F1825E13FB00}" dt="2024-08-02T10:03:06.956" v="1984" actId="2161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mod modGraphic">
          <ac:chgData name="Lars Tennbakk Bockman" userId="5a235df0-e381-4c4c-99ce-24b4b21fb9d1" providerId="ADAL" clId="{F5B85507-1A4C-4B3D-84EF-F1825E13FB00}" dt="2024-08-02T09:55:27.286" v="1698" actId="20577"/>
          <ac:graphicFrameMkLst>
            <pc:docMk/>
            <pc:sldMk cId="4169780862" sldId="274"/>
            <ac:graphicFrameMk id="8" creationId="{9D907BB4-9F15-FD3A-91D5-E60990E33FBE}"/>
          </ac:graphicFrameMkLst>
        </pc:graphicFrameChg>
        <pc:graphicFrameChg chg="mod modGraphic">
          <ac:chgData name="Lars Tennbakk Bockman" userId="5a235df0-e381-4c4c-99ce-24b4b21fb9d1" providerId="ADAL" clId="{F5B85507-1A4C-4B3D-84EF-F1825E13FB00}" dt="2024-08-02T09:53:42.200" v="1585" actId="1076"/>
          <ac:graphicFrameMkLst>
            <pc:docMk/>
            <pc:sldMk cId="4169780862" sldId="274"/>
            <ac:graphicFrameMk id="9" creationId="{802A8D75-109B-34DB-E33A-DD6C1627DEB3}"/>
          </ac:graphicFrameMkLst>
        </pc:graphicFrameChg>
      </pc:sldChg>
      <pc:sldChg chg="modSp mod">
        <pc:chgData name="Lars Tennbakk Bockman" userId="5a235df0-e381-4c4c-99ce-24b4b21fb9d1" providerId="ADAL" clId="{F5B85507-1A4C-4B3D-84EF-F1825E13FB00}" dt="2024-08-02T10:52:27.364" v="6146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F5B85507-1A4C-4B3D-84EF-F1825E13FB00}" dt="2024-08-02T10:52:27.364" v="6146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F5B85507-1A4C-4B3D-84EF-F1825E13FB00}" dt="2024-07-30T13:39:46.939" v="252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F5B85507-1A4C-4B3D-84EF-F1825E13FB00}" dt="2024-07-30T14:22:50.898" v="1112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F5B85507-1A4C-4B3D-84EF-F1825E13FB00}" dt="2024-07-30T14:23:07.460" v="1117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F5B85507-1A4C-4B3D-84EF-F1825E13FB00}" dt="2024-07-30T14:23:13.933" v="1119" actId="14100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F5B85507-1A4C-4B3D-84EF-F1825E13FB00}" dt="2024-07-30T14:23:03.159" v="1115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F5B85507-1A4C-4B3D-84EF-F1825E13FB00}" dt="2024-07-30T14:23:05.519" v="1116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F5B85507-1A4C-4B3D-84EF-F1825E13FB00}" dt="2024-07-30T14:23:16.294" v="1120" actId="1076"/>
          <ac:picMkLst>
            <pc:docMk/>
            <pc:sldMk cId="1400664593" sldId="275"/>
            <ac:picMk id="1034" creationId="{93E8EE5C-F00F-9D19-55F8-6D26C9255442}"/>
          </ac:picMkLst>
        </pc:picChg>
      </pc:sldChg>
      <pc:sldChg chg="modSp">
        <pc:chgData name="Lars Tennbakk Bockman" userId="5a235df0-e381-4c4c-99ce-24b4b21fb9d1" providerId="ADAL" clId="{F5B85507-1A4C-4B3D-84EF-F1825E13FB00}" dt="2024-08-02T10:47:29.208" v="5492" actId="14826"/>
        <pc:sldMkLst>
          <pc:docMk/>
          <pc:sldMk cId="3048309862" sldId="277"/>
        </pc:sldMkLst>
        <pc:picChg chg="mod">
          <ac:chgData name="Lars Tennbakk Bockman" userId="5a235df0-e381-4c4c-99ce-24b4b21fb9d1" providerId="ADAL" clId="{F5B85507-1A4C-4B3D-84EF-F1825E13FB00}" dt="2024-08-02T10:47:29.208" v="5492" actId="14826"/>
          <ac:picMkLst>
            <pc:docMk/>
            <pc:sldMk cId="3048309862" sldId="277"/>
            <ac:picMk id="15" creationId="{E74EA589-72EA-AA47-0E44-BCAE8A4D908E}"/>
          </ac:picMkLst>
        </pc:picChg>
      </pc:sldChg>
    </pc:docChg>
  </pc:docChgLst>
  <pc:docChgLst>
    <pc:chgData name="Lars Tennbakk Bockman" userId="S::lars.bockman@fornybarnorge.no::5a235df0-e381-4c4c-99ce-24b4b21fb9d1" providerId="AD" clId="Web-{EA80F0FD-86BE-F34E-8E62-E82B2CE10331}"/>
    <pc:docChg chg="modSld">
      <pc:chgData name="Lars Tennbakk Bockman" userId="S::lars.bockman@fornybarnorge.no::5a235df0-e381-4c4c-99ce-24b4b21fb9d1" providerId="AD" clId="Web-{EA80F0FD-86BE-F34E-8E62-E82B2CE10331}" dt="2024-04-23T13:08:03.074" v="3" actId="20577"/>
      <pc:docMkLst>
        <pc:docMk/>
      </pc:docMkLst>
      <pc:sldChg chg="delSp modSp">
        <pc:chgData name="Lars Tennbakk Bockman" userId="S::lars.bockman@fornybarnorge.no::5a235df0-e381-4c4c-99ce-24b4b21fb9d1" providerId="AD" clId="Web-{EA80F0FD-86BE-F34E-8E62-E82B2CE10331}" dt="2024-04-23T13:08:03.074" v="3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EA80F0FD-86BE-F34E-8E62-E82B2CE10331}" dt="2024-04-23T13:08:03.074" v="3" actId="20577"/>
          <ac:spMkLst>
            <pc:docMk/>
            <pc:sldMk cId="3149972175" sldId="261"/>
            <ac:spMk id="2" creationId="{EB808BFC-B71A-C9E5-5827-2A0376474563}"/>
          </ac:spMkLst>
        </pc:spChg>
        <pc:picChg chg="del">
          <ac:chgData name="Lars Tennbakk Bockman" userId="S::lars.bockman@fornybarnorge.no::5a235df0-e381-4c4c-99ce-24b4b21fb9d1" providerId="AD" clId="Web-{EA80F0FD-86BE-F34E-8E62-E82B2CE10331}" dt="2024-04-23T13:07:07.508" v="0"/>
          <ac:picMkLst>
            <pc:docMk/>
            <pc:sldMk cId="3149972175" sldId="261"/>
            <ac:picMk id="10" creationId="{607CFFAC-59AF-1273-0123-E7F3000E72DF}"/>
          </ac:picMkLst>
        </pc:picChg>
      </pc:sldChg>
    </pc:docChg>
  </pc:docChgLst>
  <pc:docChgLst>
    <pc:chgData name="Lars Tennbakk Bockman" userId="5a235df0-e381-4c4c-99ce-24b4b21fb9d1" providerId="ADAL" clId="{83B02544-0F5E-4C44-B18B-AC7E10D8800E}"/>
    <pc:docChg chg="undo custSel modSld replTag">
      <pc:chgData name="Lars Tennbakk Bockman" userId="5a235df0-e381-4c4c-99ce-24b4b21fb9d1" providerId="ADAL" clId="{83B02544-0F5E-4C44-B18B-AC7E10D8800E}" dt="2024-04-04T08:15:12.655" v="2738" actId="13926"/>
      <pc:docMkLst>
        <pc:docMk/>
      </pc:docMkLst>
      <pc:sldChg chg="modSp mod delCm">
        <pc:chgData name="Lars Tennbakk Bockman" userId="5a235df0-e381-4c4c-99ce-24b4b21fb9d1" providerId="ADAL" clId="{83B02544-0F5E-4C44-B18B-AC7E10D8800E}" dt="2024-04-04T08:15:12.655" v="2738" actId="13926"/>
        <pc:sldMkLst>
          <pc:docMk/>
          <pc:sldMk cId="4148148830" sldId="259"/>
        </pc:sldMkLst>
        <pc:spChg chg="mod">
          <ac:chgData name="Lars Tennbakk Bockman" userId="5a235df0-e381-4c4c-99ce-24b4b21fb9d1" providerId="ADAL" clId="{83B02544-0F5E-4C44-B18B-AC7E10D8800E}" dt="2024-04-04T08:15:12.655" v="2738" actId="13926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9:57.781" v="9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9B70D854-A452-4942-8D56-AD61F5B81B85}"/>
    <pc:docChg chg="modSld">
      <pc:chgData name="Iselin Ekeli Rønningsbakk" userId="187300ae-9cb6-416d-8a94-664ca977a24d" providerId="ADAL" clId="{9B70D854-A452-4942-8D56-AD61F5B81B85}" dt="2024-04-11T12:51:18.637" v="644" actId="6549"/>
      <pc:docMkLst>
        <pc:docMk/>
      </pc:docMkLst>
      <pc:sldChg chg="modSp mod">
        <pc:chgData name="Iselin Ekeli Rønningsbakk" userId="187300ae-9cb6-416d-8a94-664ca977a24d" providerId="ADAL" clId="{9B70D854-A452-4942-8D56-AD61F5B81B85}" dt="2024-04-11T12:51:18.637" v="644" actId="6549"/>
        <pc:sldMkLst>
          <pc:docMk/>
          <pc:sldMk cId="362544367" sldId="264"/>
        </pc:sldMkLst>
        <pc:spChg chg="mod">
          <ac:chgData name="Iselin Ekeli Rønningsbakk" userId="187300ae-9cb6-416d-8a94-664ca977a24d" providerId="ADAL" clId="{9B70D854-A452-4942-8D56-AD61F5B81B85}" dt="2024-04-11T12:51:18.637" v="644" actId="6549"/>
          <ac:spMkLst>
            <pc:docMk/>
            <pc:sldMk cId="362544367" sldId="264"/>
            <ac:spMk id="2" creationId="{5213922F-444B-9587-AFC4-5C4C6A8D8FDB}"/>
          </ac:spMkLst>
        </pc:spChg>
      </pc:sldChg>
      <pc:sldChg chg="modSp mod">
        <pc:chgData name="Iselin Ekeli Rønningsbakk" userId="187300ae-9cb6-416d-8a94-664ca977a24d" providerId="ADAL" clId="{9B70D854-A452-4942-8D56-AD61F5B81B85}" dt="2024-04-11T12:50:32.816" v="633" actId="20577"/>
        <pc:sldMkLst>
          <pc:docMk/>
          <pc:sldMk cId="3809428704" sldId="268"/>
        </pc:sldMkLst>
        <pc:spChg chg="mod">
          <ac:chgData name="Iselin Ekeli Rønningsbakk" userId="187300ae-9cb6-416d-8a94-664ca977a24d" providerId="ADAL" clId="{9B70D854-A452-4942-8D56-AD61F5B81B85}" dt="2024-04-11T12:50:32.816" v="633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Iselin Ekeli Rønningsbakk" userId="187300ae-9cb6-416d-8a94-664ca977a24d" providerId="ADAL" clId="{9B70D854-A452-4942-8D56-AD61F5B81B85}" dt="2024-04-11T12:45:29.224" v="11" actId="6549"/>
          <ac:spMkLst>
            <pc:docMk/>
            <pc:sldMk cId="3809428704" sldId="268"/>
            <ac:spMk id="27" creationId="{D4479EF9-3012-3964-A9D0-6C16A3C05105}"/>
          </ac:spMkLst>
        </pc:spChg>
      </pc:sldChg>
    </pc:docChg>
  </pc:docChgLst>
  <pc:docChgLst>
    <pc:chgData name="Iselin Ekeli Rønningsbakk" userId="187300ae-9cb6-416d-8a94-664ca977a24d" providerId="ADAL" clId="{EE21E6D1-581B-48DE-BEF9-DE59C28260FD}"/>
    <pc:docChg chg="">
      <pc:chgData name="Iselin Ekeli Rønningsbakk" userId="187300ae-9cb6-416d-8a94-664ca977a24d" providerId="ADAL" clId="{EE21E6D1-581B-48DE-BEF9-DE59C28260FD}" dt="2024-05-16T07:00:05.547" v="0"/>
      <pc:docMkLst>
        <pc:docMk/>
      </pc:docMkLst>
      <pc:sldChg chg="delCm">
        <pc:chgData name="Iselin Ekeli Rønningsbakk" userId="187300ae-9cb6-416d-8a94-664ca977a24d" providerId="ADAL" clId="{EE21E6D1-581B-48DE-BEF9-DE59C28260FD}" dt="2024-05-16T07:00:05.547" v="0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Iselin Ekeli Rønningsbakk" userId="187300ae-9cb6-416d-8a94-664ca977a24d" providerId="ADAL" clId="{EE21E6D1-581B-48DE-BEF9-DE59C28260FD}" dt="2024-05-16T07:00:05.547" v="0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9D20F3F0-BFFC-4B67-9A36-9CDA6B23B3A5}"/>
    <pc:docChg chg="modSld">
      <pc:chgData name="Iselin Ekeli Rønningsbakk" userId="187300ae-9cb6-416d-8a94-664ca977a24d" providerId="ADAL" clId="{9D20F3F0-BFFC-4B67-9A36-9CDA6B23B3A5}" dt="2024-08-02T11:52:00.427" v="18" actId="6549"/>
      <pc:docMkLst>
        <pc:docMk/>
      </pc:docMkLst>
      <pc:sldChg chg="modSp mod addCm modCm">
        <pc:chgData name="Iselin Ekeli Rønningsbakk" userId="187300ae-9cb6-416d-8a94-664ca977a24d" providerId="ADAL" clId="{9D20F3F0-BFFC-4B67-9A36-9CDA6B23B3A5}" dt="2024-08-02T11:52:00.427" v="18" actId="6549"/>
        <pc:sldMkLst>
          <pc:docMk/>
          <pc:sldMk cId="4169780862" sldId="274"/>
        </pc:sldMkLst>
        <pc:graphicFrameChg chg="modGraphic">
          <ac:chgData name="Iselin Ekeli Rønningsbakk" userId="187300ae-9cb6-416d-8a94-664ca977a24d" providerId="ADAL" clId="{9D20F3F0-BFFC-4B67-9A36-9CDA6B23B3A5}" dt="2024-08-02T11:52:00.427" v="18" actId="6549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Iselin Ekeli Rønningsbakk" userId="187300ae-9cb6-416d-8a94-664ca977a24d" providerId="ADAL" clId="{9D20F3F0-BFFC-4B67-9A36-9CDA6B23B3A5}" dt="2024-08-02T11:52:00.427" v="18" actId="6549"/>
              <pc2:cmMkLst xmlns:pc2="http://schemas.microsoft.com/office/powerpoint/2019/9/main/command">
                <pc:docMk/>
                <pc:sldMk cId="4169780862" sldId="274"/>
                <pc2:cmMk id="{2E9BC3A8-1C3E-41AF-825C-594DD1DF5CC5}"/>
              </pc2:cmMkLst>
              <pc226:cmRplyChg chg="mod modRxn">
                <pc226:chgData name="Iselin Ekeli Rønningsbakk" userId="187300ae-9cb6-416d-8a94-664ca977a24d" providerId="ADAL" clId="{9D20F3F0-BFFC-4B67-9A36-9CDA6B23B3A5}" dt="2024-08-02T11:51:55.093" v="16"/>
                <pc2:cmRplyMkLst xmlns:pc2="http://schemas.microsoft.com/office/powerpoint/2019/9/main/command">
                  <pc:docMk/>
                  <pc:sldMk cId="4169780862" sldId="274"/>
                  <pc2:cmMk id="{2E9BC3A8-1C3E-41AF-825C-594DD1DF5CC5}"/>
                  <pc2:cmRplyMk id="{75B0EE16-5454-4F04-BDEF-10FE86CC6682}"/>
                </pc2:cmRplyMkLst>
              </pc226:cmRplyChg>
            </pc226:cmChg>
          </p:ext>
        </pc:extLst>
      </pc:sldChg>
    </pc:docChg>
  </pc:docChgLst>
  <pc:docChgLst>
    <pc:chgData name="Lars Tennbakk Bockman" userId="S::lars.bockman@fornybarnorge.no::5a235df0-e381-4c4c-99ce-24b4b21fb9d1" providerId="AD" clId="Web-{BAE85A8C-C2C4-873F-9DA4-6AB4D439F0C5}"/>
    <pc:docChg chg="addSld delSld modSld">
      <pc:chgData name="Lars Tennbakk Bockman" userId="S::lars.bockman@fornybarnorge.no::5a235df0-e381-4c4c-99ce-24b4b21fb9d1" providerId="AD" clId="Web-{BAE85A8C-C2C4-873F-9DA4-6AB4D439F0C5}" dt="2024-05-24T14:10:58.800" v="49"/>
      <pc:docMkLst>
        <pc:docMk/>
      </pc:docMkLst>
      <pc:sldChg chg="modSp add del replId">
        <pc:chgData name="Lars Tennbakk Bockman" userId="S::lars.bockman@fornybarnorge.no::5a235df0-e381-4c4c-99ce-24b4b21fb9d1" providerId="AD" clId="Web-{BAE85A8C-C2C4-873F-9DA4-6AB4D439F0C5}" dt="2024-05-24T14:06:18.931" v="13"/>
        <pc:sldMkLst>
          <pc:docMk/>
          <pc:sldMk cId="120293974" sldId="276"/>
        </pc:sldMkLst>
        <pc:spChg chg="mod">
          <ac:chgData name="Lars Tennbakk Bockman" userId="S::lars.bockman@fornybarnorge.no::5a235df0-e381-4c4c-99ce-24b4b21fb9d1" providerId="AD" clId="Web-{BAE85A8C-C2C4-873F-9DA4-6AB4D439F0C5}" dt="2024-05-24T14:06:14.884" v="12" actId="20577"/>
          <ac:spMkLst>
            <pc:docMk/>
            <pc:sldMk cId="120293974" sldId="276"/>
            <ac:spMk id="4" creationId="{BF121519-CDDC-1962-9CD6-6AAC2E69BFCB}"/>
          </ac:spMkLst>
        </pc:spChg>
      </pc:sldChg>
      <pc:sldChg chg="addSp delSp modSp add replId">
        <pc:chgData name="Lars Tennbakk Bockman" userId="S::lars.bockman@fornybarnorge.no::5a235df0-e381-4c4c-99ce-24b4b21fb9d1" providerId="AD" clId="Web-{BAE85A8C-C2C4-873F-9DA4-6AB4D439F0C5}" dt="2024-05-24T14:10:58.800" v="49"/>
        <pc:sldMkLst>
          <pc:docMk/>
          <pc:sldMk cId="4123918659" sldId="276"/>
        </pc:sldMkLst>
        <pc:spChg chg="mod">
          <ac:chgData name="Lars Tennbakk Bockman" userId="S::lars.bockman@fornybarnorge.no::5a235df0-e381-4c4c-99ce-24b4b21fb9d1" providerId="AD" clId="Web-{BAE85A8C-C2C4-873F-9DA4-6AB4D439F0C5}" dt="2024-05-24T14:10:41.393" v="43" actId="14100"/>
          <ac:spMkLst>
            <pc:docMk/>
            <pc:sldMk cId="4123918659" sldId="276"/>
            <ac:spMk id="2" creationId="{C4156261-E1C9-2286-1892-F2CC3F37CA3E}"/>
          </ac:spMkLst>
        </pc:spChg>
        <pc:spChg chg="del mod">
          <ac:chgData name="Lars Tennbakk Bockman" userId="S::lars.bockman@fornybarnorge.no::5a235df0-e381-4c4c-99ce-24b4b21fb9d1" providerId="AD" clId="Web-{BAE85A8C-C2C4-873F-9DA4-6AB4D439F0C5}" dt="2024-05-24T14:10:58.800" v="49"/>
          <ac:spMkLst>
            <pc:docMk/>
            <pc:sldMk cId="4123918659" sldId="276"/>
            <ac:spMk id="11" creationId="{57A60D7B-702C-A706-64FD-CDEEDECD6266}"/>
          </ac:spMkLst>
        </pc:spChg>
        <pc:graphicFrameChg chg="del mod modGraphic">
          <ac:chgData name="Lars Tennbakk Bockman" userId="S::lars.bockman@fornybarnorge.no::5a235df0-e381-4c4c-99ce-24b4b21fb9d1" providerId="AD" clId="Web-{BAE85A8C-C2C4-873F-9DA4-6AB4D439F0C5}" dt="2024-05-24T14:06:34.338" v="19"/>
          <ac:graphicFrameMkLst>
            <pc:docMk/>
            <pc:sldMk cId="4123918659" sldId="276"/>
            <ac:graphicFrameMk id="3" creationId="{C11B810A-CBB4-85BA-0F71-0E261F64A84A}"/>
          </ac:graphicFrameMkLst>
        </pc:graphicFrameChg>
        <pc:graphicFrameChg chg="del mod modGraphic">
          <ac:chgData name="Lars Tennbakk Bockman" userId="S::lars.bockman@fornybarnorge.no::5a235df0-e381-4c4c-99ce-24b4b21fb9d1" providerId="AD" clId="Web-{BAE85A8C-C2C4-873F-9DA4-6AB4D439F0C5}" dt="2024-05-24T14:06:40.650" v="22"/>
          <ac:graphicFrameMkLst>
            <pc:docMk/>
            <pc:sldMk cId="4123918659" sldId="276"/>
            <ac:graphicFrameMk id="7" creationId="{2706DAED-C870-5851-E0A8-73F89F01C778}"/>
          </ac:graphicFrameMkLst>
        </pc:graphicFrameChg>
        <pc:graphicFrameChg chg="del">
          <ac:chgData name="Lars Tennbakk Bockman" userId="S::lars.bockman@fornybarnorge.no::5a235df0-e381-4c4c-99ce-24b4b21fb9d1" providerId="AD" clId="Web-{BAE85A8C-C2C4-873F-9DA4-6AB4D439F0C5}" dt="2024-05-24T14:06:37.181" v="20"/>
          <ac:graphicFrameMkLst>
            <pc:docMk/>
            <pc:sldMk cId="4123918659" sldId="276"/>
            <ac:graphicFrameMk id="8" creationId="{9D907BB4-9F15-FD3A-91D5-E60990E33FBE}"/>
          </ac:graphicFrameMkLst>
        </pc:graphicFrameChg>
        <pc:picChg chg="add mod">
          <ac:chgData name="Lars Tennbakk Bockman" userId="S::lars.bockman@fornybarnorge.no::5a235df0-e381-4c4c-99ce-24b4b21fb9d1" providerId="AD" clId="Web-{BAE85A8C-C2C4-873F-9DA4-6AB4D439F0C5}" dt="2024-05-24T14:10:53.909" v="47" actId="14100"/>
          <ac:picMkLst>
            <pc:docMk/>
            <pc:sldMk cId="4123918659" sldId="276"/>
            <ac:picMk id="6" creationId="{E74EA589-72EA-AA47-0E44-BCAE8A4D908E}"/>
          </ac:picMkLst>
        </pc:picChg>
      </pc:sldChg>
    </pc:docChg>
  </pc:docChgLst>
  <pc:docChgLst>
    <pc:chgData name="Lars Tennbakk Bockman" userId="5a235df0-e381-4c4c-99ce-24b4b21fb9d1" providerId="ADAL" clId="{2A9B793B-E7F3-45B6-8056-E74BFFFEF538}"/>
    <pc:docChg chg="undo custSel modSld">
      <pc:chgData name="Lars Tennbakk Bockman" userId="5a235df0-e381-4c4c-99ce-24b4b21fb9d1" providerId="ADAL" clId="{2A9B793B-E7F3-45B6-8056-E74BFFFEF538}" dt="2024-04-12T11:02:21.519" v="1452" actId="14100"/>
      <pc:docMkLst>
        <pc:docMk/>
      </pc:docMkLst>
      <pc:sldChg chg="modSp mod">
        <pc:chgData name="Lars Tennbakk Bockman" userId="5a235df0-e381-4c4c-99ce-24b4b21fb9d1" providerId="ADAL" clId="{2A9B793B-E7F3-45B6-8056-E74BFFFEF538}" dt="2024-04-10T12:49:44.559" v="1139" actId="20577"/>
        <pc:sldMkLst>
          <pc:docMk/>
          <pc:sldMk cId="4148148830" sldId="259"/>
        </pc:sldMkLst>
        <pc:spChg chg="mod">
          <ac:chgData name="Lars Tennbakk Bockman" userId="5a235df0-e381-4c4c-99ce-24b4b21fb9d1" providerId="ADAL" clId="{2A9B793B-E7F3-45B6-8056-E74BFFFEF538}" dt="2024-04-10T12:49:44.559" v="1139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addSp delSp modSp mod">
        <pc:chgData name="Lars Tennbakk Bockman" userId="5a235df0-e381-4c4c-99ce-24b4b21fb9d1" providerId="ADAL" clId="{2A9B793B-E7F3-45B6-8056-E74BFFFEF538}" dt="2024-04-12T11:02:21.519" v="1452" actId="14100"/>
        <pc:sldMkLst>
          <pc:docMk/>
          <pc:sldMk cId="3149972175" sldId="261"/>
        </pc:sldMkLst>
        <pc:spChg chg="add del">
          <ac:chgData name="Lars Tennbakk Bockman" userId="5a235df0-e381-4c4c-99ce-24b4b21fb9d1" providerId="ADAL" clId="{2A9B793B-E7F3-45B6-8056-E74BFFFEF538}" dt="2024-04-12T11:01:36.648" v="1445" actId="478"/>
          <ac:spMkLst>
            <pc:docMk/>
            <pc:sldMk cId="3149972175" sldId="261"/>
            <ac:spMk id="3" creationId="{D833EDB0-2FBD-F858-E9D8-E247E7591AA6}"/>
          </ac:spMkLst>
        </pc:spChg>
        <pc:spChg chg="mod">
          <ac:chgData name="Lars Tennbakk Bockman" userId="5a235df0-e381-4c4c-99ce-24b4b21fb9d1" providerId="ADAL" clId="{2A9B793B-E7F3-45B6-8056-E74BFFFEF538}" dt="2024-04-10T10:30:54.632" v="691" actId="13926"/>
          <ac:spMkLst>
            <pc:docMk/>
            <pc:sldMk cId="3149972175" sldId="261"/>
            <ac:spMk id="15" creationId="{71CD328A-FCBF-98DB-A3A2-36A13A7E9980}"/>
          </ac:spMkLst>
        </pc:spChg>
        <pc:picChg chg="add mod">
          <ac:chgData name="Lars Tennbakk Bockman" userId="5a235df0-e381-4c4c-99ce-24b4b21fb9d1" providerId="ADAL" clId="{2A9B793B-E7F3-45B6-8056-E74BFFFEF538}" dt="2024-04-12T11:02:21.519" v="1452" actId="14100"/>
          <ac:picMkLst>
            <pc:docMk/>
            <pc:sldMk cId="3149972175" sldId="261"/>
            <ac:picMk id="8" creationId="{8024784E-B6AC-28D7-0AB0-ADE7E934E7A1}"/>
          </ac:picMkLst>
        </pc:picChg>
        <pc:picChg chg="del">
          <ac:chgData name="Lars Tennbakk Bockman" userId="5a235df0-e381-4c4c-99ce-24b4b21fb9d1" providerId="ADAL" clId="{2A9B793B-E7F3-45B6-8056-E74BFFFEF538}" dt="2024-04-12T11:01:34.351" v="1443" actId="478"/>
          <ac:picMkLst>
            <pc:docMk/>
            <pc:sldMk cId="3149972175" sldId="261"/>
            <ac:picMk id="9" creationId="{44CEDB3C-E57F-F323-62AD-0E388B9FAAD8}"/>
          </ac:picMkLst>
        </pc:picChg>
      </pc:sldChg>
      <pc:sldChg chg="addSp delSp modSp mod">
        <pc:chgData name="Lars Tennbakk Bockman" userId="5a235df0-e381-4c4c-99ce-24b4b21fb9d1" providerId="ADAL" clId="{2A9B793B-E7F3-45B6-8056-E74BFFFEF538}" dt="2024-04-10T12:52:37.290" v="1159" actId="14100"/>
        <pc:sldMkLst>
          <pc:docMk/>
          <pc:sldMk cId="362544367" sldId="264"/>
        </pc:sldMkLst>
        <pc:spChg chg="mod">
          <ac:chgData name="Lars Tennbakk Bockman" userId="5a235df0-e381-4c4c-99ce-24b4b21fb9d1" providerId="ADAL" clId="{2A9B793B-E7F3-45B6-8056-E74BFFFEF538}" dt="2024-04-10T12:52:37.290" v="1159" actId="14100"/>
          <ac:spMkLst>
            <pc:docMk/>
            <pc:sldMk cId="362544367" sldId="264"/>
            <ac:spMk id="6" creationId="{43281BD6-61B8-4DBB-3558-178E91D04924}"/>
          </ac:spMkLst>
        </pc:spChg>
        <pc:graphicFrameChg chg="mod modGraphic">
          <ac:chgData name="Lars Tennbakk Bockman" userId="5a235df0-e381-4c4c-99ce-24b4b21fb9d1" providerId="ADAL" clId="{2A9B793B-E7F3-45B6-8056-E74BFFFEF538}" dt="2024-04-10T12:52:33.367" v="1158" actId="14100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mod modGraphic">
          <ac:chgData name="Lars Tennbakk Bockman" userId="5a235df0-e381-4c4c-99ce-24b4b21fb9d1" providerId="ADAL" clId="{2A9B793B-E7F3-45B6-8056-E74BFFFEF538}" dt="2024-04-10T12:50:24.143" v="1142" actId="12385"/>
          <ac:graphicFrameMkLst>
            <pc:docMk/>
            <pc:sldMk cId="362544367" sldId="264"/>
            <ac:graphicFrameMk id="10" creationId="{A69C24CA-7411-4742-B8B0-4E6A225ADD6D}"/>
          </ac:graphicFrameMkLst>
        </pc:graphicFrameChg>
        <pc:graphicFrameChg chg="add del mod">
          <ac:chgData name="Lars Tennbakk Bockman" userId="5a235df0-e381-4c4c-99ce-24b4b21fb9d1" providerId="ADAL" clId="{2A9B793B-E7F3-45B6-8056-E74BFFFEF538}" dt="2024-04-10T12:50:43.207" v="1144" actId="478"/>
          <ac:graphicFrameMkLst>
            <pc:docMk/>
            <pc:sldMk cId="362544367" sldId="264"/>
            <ac:graphicFrameMk id="12" creationId="{0D589D52-C113-6F16-013A-F0F2DEF4EC12}"/>
          </ac:graphicFrameMkLst>
        </pc:graphicFrameChg>
      </pc:sldChg>
      <pc:sldChg chg="delSp modSp mod">
        <pc:chgData name="Lars Tennbakk Bockman" userId="5a235df0-e381-4c4c-99ce-24b4b21fb9d1" providerId="ADAL" clId="{2A9B793B-E7F3-45B6-8056-E74BFFFEF538}" dt="2024-04-10T10:32:06.934" v="701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2A9B793B-E7F3-45B6-8056-E74BFFFEF538}" dt="2024-04-10T10:32:06.934" v="701" actId="20577"/>
          <ac:spMkLst>
            <pc:docMk/>
            <pc:sldMk cId="3809428704" sldId="268"/>
            <ac:spMk id="3" creationId="{8A3EFEB1-D7F7-A46E-7DED-AE462CEAB1A0}"/>
          </ac:spMkLst>
        </pc:spChg>
        <pc:spChg chg="del mod">
          <ac:chgData name="Lars Tennbakk Bockman" userId="5a235df0-e381-4c4c-99ce-24b4b21fb9d1" providerId="ADAL" clId="{2A9B793B-E7F3-45B6-8056-E74BFFFEF538}" dt="2024-04-10T10:31:32.670" v="694"/>
          <ac:spMkLst>
            <pc:docMk/>
            <pc:sldMk cId="3809428704" sldId="268"/>
            <ac:spMk id="4" creationId="{D1901E2F-AFF3-2F50-C7AA-0E8DFCDE0BD5}"/>
          </ac:spMkLst>
        </pc:spChg>
      </pc:sldChg>
      <pc:sldChg chg="modSp mod modCm">
        <pc:chgData name="Lars Tennbakk Bockman" userId="5a235df0-e381-4c4c-99ce-24b4b21fb9d1" providerId="ADAL" clId="{2A9B793B-E7F3-45B6-8056-E74BFFFEF538}" dt="2024-04-10T12:09:50.921" v="724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2A9B793B-E7F3-45B6-8056-E74BFFFEF538}" dt="2024-04-10T12:09:50.921" v="724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2A9B793B-E7F3-45B6-8056-E74BFFFEF538}" dt="2024-04-10T10:11:04.831" v="0" actId="14826"/>
          <ac:picMkLst>
            <pc:docMk/>
            <pc:sldMk cId="964345901" sldId="269"/>
            <ac:picMk id="9" creationId="{D21B8C53-AA53-A852-4492-9BA4D601B04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2A9B793B-E7F3-45B6-8056-E74BFFFEF538}" dt="2024-04-10T12:09:50.921" v="724" actId="20577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Lars Tennbakk Bockman" userId="5a235df0-e381-4c4c-99ce-24b4b21fb9d1" providerId="ADAL" clId="{2A9B793B-E7F3-45B6-8056-E74BFFFEF538}" dt="2024-04-10T10:14:14.814" v="290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2A9B793B-E7F3-45B6-8056-E74BFFFEF538}" dt="2024-04-10T10:14:14.814" v="290" actId="20577"/>
          <ac:spMkLst>
            <pc:docMk/>
            <pc:sldMk cId="4275014000" sldId="270"/>
            <ac:spMk id="14" creationId="{21531C8D-908F-3C5D-76AA-208A0DF8D559}"/>
          </ac:spMkLst>
        </pc:spChg>
        <pc:picChg chg="mod">
          <ac:chgData name="Lars Tennbakk Bockman" userId="5a235df0-e381-4c4c-99ce-24b4b21fb9d1" providerId="ADAL" clId="{2A9B793B-E7F3-45B6-8056-E74BFFFEF538}" dt="2024-04-10T10:11:14.140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modSp mod">
        <pc:chgData name="Lars Tennbakk Bockman" userId="5a235df0-e381-4c4c-99ce-24b4b21fb9d1" providerId="ADAL" clId="{2A9B793B-E7F3-45B6-8056-E74BFFFEF538}" dt="2024-04-10T12:57:51.231" v="1442" actId="20577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2A9B793B-E7F3-45B6-8056-E74BFFFEF538}" dt="2024-04-10T12:57:51.231" v="1442" actId="20577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mod modGraphic">
          <ac:chgData name="Lars Tennbakk Bockman" userId="5a235df0-e381-4c4c-99ce-24b4b21fb9d1" providerId="ADAL" clId="{2A9B793B-E7F3-45B6-8056-E74BFFFEF538}" dt="2024-04-10T12:53:19.734" v="1167" actId="1076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modGraphic">
          <ac:chgData name="Lars Tennbakk Bockman" userId="5a235df0-e381-4c4c-99ce-24b4b21fb9d1" providerId="ADAL" clId="{2A9B793B-E7F3-45B6-8056-E74BFFFEF538}" dt="2024-04-10T12:55:52.886" v="1312" actId="20577"/>
          <ac:graphicFrameMkLst>
            <pc:docMk/>
            <pc:sldMk cId="4169780862" sldId="274"/>
            <ac:graphicFrameMk id="7" creationId="{2706DAED-C870-5851-E0A8-73F89F01C778}"/>
          </ac:graphicFrameMkLst>
        </pc:graphicFrameChg>
      </pc:sldChg>
      <pc:sldChg chg="modSp mod">
        <pc:chgData name="Lars Tennbakk Bockman" userId="5a235df0-e381-4c4c-99ce-24b4b21fb9d1" providerId="ADAL" clId="{2A9B793B-E7F3-45B6-8056-E74BFFFEF538}" dt="2024-04-10T10:16:53.063" v="586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2A9B793B-E7F3-45B6-8056-E74BFFFEF538}" dt="2024-04-10T10:16:53.063" v="586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clId="Web-{7492D111-7293-4795-8678-B3671B4EF338}"/>
    <pc:docChg chg="">
      <pc:chgData name="" userId="" providerId="" clId="Web-{7492D111-7293-4795-8678-B3671B4EF338}" dt="2024-04-11T13:36:34.845" v="0"/>
      <pc:docMkLst>
        <pc:docMk/>
      </pc:docMkLst>
    </pc:docChg>
  </pc:docChgLst>
  <pc:docChgLst>
    <pc:chgData name="Lars Tennbakk Bockman" userId="5a235df0-e381-4c4c-99ce-24b4b21fb9d1" providerId="ADAL" clId="{BA722753-AECD-42BA-AFBB-BA15DC32378A}"/>
    <pc:docChg chg="undo custSel addSld delSld modSld">
      <pc:chgData name="Lars Tennbakk Bockman" userId="5a235df0-e381-4c4c-99ce-24b4b21fb9d1" providerId="ADAL" clId="{BA722753-AECD-42BA-AFBB-BA15DC32378A}" dt="2024-07-05T07:18:45.592" v="1810" actId="20577"/>
      <pc:docMkLst>
        <pc:docMk/>
      </pc:docMkLst>
      <pc:sldChg chg="addSp delSp modSp mod">
        <pc:chgData name="Lars Tennbakk Bockman" userId="5a235df0-e381-4c4c-99ce-24b4b21fb9d1" providerId="ADAL" clId="{BA722753-AECD-42BA-AFBB-BA15DC32378A}" dt="2024-07-02T09:01:19.747" v="1792" actId="14100"/>
        <pc:sldMkLst>
          <pc:docMk/>
          <pc:sldMk cId="4169780862" sldId="274"/>
        </pc:sldMkLst>
        <pc:graphicFrameChg chg="add del modGraphic">
          <ac:chgData name="Lars Tennbakk Bockman" userId="5a235df0-e381-4c4c-99ce-24b4b21fb9d1" providerId="ADAL" clId="{BA722753-AECD-42BA-AFBB-BA15DC32378A}" dt="2024-07-02T08:57:48.653" v="1621" actId="478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add mod modGraphic">
          <ac:chgData name="Lars Tennbakk Bockman" userId="5a235df0-e381-4c4c-99ce-24b4b21fb9d1" providerId="ADAL" clId="{BA722753-AECD-42BA-AFBB-BA15DC32378A}" dt="2024-07-02T08:55:38.570" v="1598" actId="12385"/>
          <ac:graphicFrameMkLst>
            <pc:docMk/>
            <pc:sldMk cId="4169780862" sldId="274"/>
            <ac:graphicFrameMk id="6" creationId="{6E5028B6-437C-CB2A-136B-CF61BBBE6AB6}"/>
          </ac:graphicFrameMkLst>
        </pc:graphicFrameChg>
        <pc:graphicFrameChg chg="mod modGraphic">
          <ac:chgData name="Lars Tennbakk Bockman" userId="5a235df0-e381-4c4c-99ce-24b4b21fb9d1" providerId="ADAL" clId="{BA722753-AECD-42BA-AFBB-BA15DC32378A}" dt="2024-07-02T09:01:19.747" v="1792" actId="14100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mod modGraphic">
          <ac:chgData name="Lars Tennbakk Bockman" userId="5a235df0-e381-4c4c-99ce-24b4b21fb9d1" providerId="ADAL" clId="{BA722753-AECD-42BA-AFBB-BA15DC32378A}" dt="2024-07-02T08:59:07.919" v="1653"/>
          <ac:graphicFrameMkLst>
            <pc:docMk/>
            <pc:sldMk cId="4169780862" sldId="274"/>
            <ac:graphicFrameMk id="8" creationId="{9D907BB4-9F15-FD3A-91D5-E60990E33FBE}"/>
          </ac:graphicFrameMkLst>
        </pc:graphicFrameChg>
        <pc:graphicFrameChg chg="add mod modGraphic">
          <ac:chgData name="Lars Tennbakk Bockman" userId="5a235df0-e381-4c4c-99ce-24b4b21fb9d1" providerId="ADAL" clId="{BA722753-AECD-42BA-AFBB-BA15DC32378A}" dt="2024-07-02T08:58:51.744" v="1651" actId="113"/>
          <ac:graphicFrameMkLst>
            <pc:docMk/>
            <pc:sldMk cId="4169780862" sldId="274"/>
            <ac:graphicFrameMk id="9" creationId="{802A8D75-109B-34DB-E33A-DD6C1627DEB3}"/>
          </ac:graphicFrameMkLst>
        </pc:graphicFrameChg>
      </pc:sldChg>
      <pc:sldChg chg="modSp add del">
        <pc:chgData name="Lars Tennbakk Bockman" userId="5a235df0-e381-4c4c-99ce-24b4b21fb9d1" providerId="ADAL" clId="{BA722753-AECD-42BA-AFBB-BA15DC32378A}" dt="2024-07-02T09:07:36.875" v="1797" actId="14826"/>
        <pc:sldMkLst>
          <pc:docMk/>
          <pc:sldMk cId="3048309862" sldId="277"/>
        </pc:sldMkLst>
        <pc:picChg chg="mod">
          <ac:chgData name="Lars Tennbakk Bockman" userId="5a235df0-e381-4c4c-99ce-24b4b21fb9d1" providerId="ADAL" clId="{BA722753-AECD-42BA-AFBB-BA15DC32378A}" dt="2024-07-02T09:07:36.875" v="1797" actId="14826"/>
          <ac:picMkLst>
            <pc:docMk/>
            <pc:sldMk cId="3048309862" sldId="277"/>
            <ac:picMk id="15" creationId="{E74EA589-72EA-AA47-0E44-BCAE8A4D908E}"/>
          </ac:picMkLst>
        </pc:picChg>
      </pc:sldChg>
    </pc:docChg>
  </pc:docChgLst>
  <pc:docChgLst>
    <pc:chgData name="Lars Tennbakk Bockman" userId="5a235df0-e381-4c4c-99ce-24b4b21fb9d1" providerId="ADAL" clId="{AAC28722-CAC1-4A92-BD45-FDE32BB7A4C9}"/>
    <pc:docChg chg="modSld">
      <pc:chgData name="Lars Tennbakk Bockman" userId="5a235df0-e381-4c4c-99ce-24b4b21fb9d1" providerId="ADAL" clId="{AAC28722-CAC1-4A92-BD45-FDE32BB7A4C9}" dt="2024-08-06T12:28:57.093" v="5" actId="20577"/>
      <pc:docMkLst>
        <pc:docMk/>
      </pc:docMkLst>
    </pc:docChg>
  </pc:docChgLst>
  <pc:docChgLst>
    <pc:chgData name="Ingeborg Aarø" userId="S::ingeborg.aaro@fornybarnorge.no::fe5f74f8-3120-49da-a10f-7c51be1254b1" providerId="AD" clId="Web-{49594A3B-2D5F-9DAF-A814-9A3960F084FD}"/>
    <pc:docChg chg="modSld">
      <pc:chgData name="Ingeborg Aarø" userId="S::ingeborg.aaro@fornybarnorge.no::fe5f74f8-3120-49da-a10f-7c51be1254b1" providerId="AD" clId="Web-{49594A3B-2D5F-9DAF-A814-9A3960F084FD}" dt="2024-06-05T11:09:23.309" v="15" actId="14100"/>
      <pc:docMkLst>
        <pc:docMk/>
      </pc:docMkLst>
      <pc:sldChg chg="modSp">
        <pc:chgData name="Ingeborg Aarø" userId="S::ingeborg.aaro@fornybarnorge.no::fe5f74f8-3120-49da-a10f-7c51be1254b1" providerId="AD" clId="Web-{49594A3B-2D5F-9DAF-A814-9A3960F084FD}" dt="2024-06-05T10:35:55.885" v="0" actId="20577"/>
        <pc:sldMkLst>
          <pc:docMk/>
          <pc:sldMk cId="362544367" sldId="264"/>
        </pc:sldMkLst>
        <pc:spChg chg="mod">
          <ac:chgData name="Ingeborg Aarø" userId="S::ingeborg.aaro@fornybarnorge.no::fe5f74f8-3120-49da-a10f-7c51be1254b1" providerId="AD" clId="Web-{49594A3B-2D5F-9DAF-A814-9A3960F084FD}" dt="2024-06-05T10:35:55.885" v="0" actId="20577"/>
          <ac:spMkLst>
            <pc:docMk/>
            <pc:sldMk cId="362544367" sldId="264"/>
            <ac:spMk id="2" creationId="{5213922F-444B-9587-AFC4-5C4C6A8D8FDB}"/>
          </ac:spMkLst>
        </pc:spChg>
      </pc:sldChg>
    </pc:docChg>
  </pc:docChgLst>
  <pc:docChgLst>
    <pc:chgData name="Lars Tennbakk Bockman" userId="5a235df0-e381-4c4c-99ce-24b4b21fb9d1" providerId="ADAL" clId="{37EF9059-D99C-4752-86C1-B8EAEF640EE7}"/>
    <pc:docChg chg="custSel modSld">
      <pc:chgData name="Lars Tennbakk Bockman" userId="5a235df0-e381-4c4c-99ce-24b4b21fb9d1" providerId="ADAL" clId="{37EF9059-D99C-4752-86C1-B8EAEF640EE7}" dt="2024-05-03T09:21:35.955" v="166" actId="2711"/>
      <pc:docMkLst>
        <pc:docMk/>
      </pc:docMkLst>
      <pc:sldChg chg="modSp mod">
        <pc:chgData name="Lars Tennbakk Bockman" userId="5a235df0-e381-4c4c-99ce-24b4b21fb9d1" providerId="ADAL" clId="{37EF9059-D99C-4752-86C1-B8EAEF640EE7}" dt="2024-05-03T09:14:57.274" v="49" actId="1076"/>
        <pc:sldMkLst>
          <pc:docMk/>
          <pc:sldMk cId="362544367" sldId="264"/>
        </pc:sldMkLst>
        <pc:spChg chg="mod">
          <ac:chgData name="Lars Tennbakk Bockman" userId="5a235df0-e381-4c4c-99ce-24b4b21fb9d1" providerId="ADAL" clId="{37EF9059-D99C-4752-86C1-B8EAEF640EE7}" dt="2024-05-03T09:14:57.274" v="49" actId="1076"/>
          <ac:spMkLst>
            <pc:docMk/>
            <pc:sldMk cId="362544367" sldId="264"/>
            <ac:spMk id="4" creationId="{113A1B97-60AB-A82D-7695-603B4FDE308B}"/>
          </ac:spMkLst>
        </pc:spChg>
        <pc:spChg chg="mod">
          <ac:chgData name="Lars Tennbakk Bockman" userId="5a235df0-e381-4c4c-99ce-24b4b21fb9d1" providerId="ADAL" clId="{37EF9059-D99C-4752-86C1-B8EAEF640EE7}" dt="2024-05-03T09:14:54.826" v="48" actId="1076"/>
          <ac:spMkLst>
            <pc:docMk/>
            <pc:sldMk cId="362544367" sldId="264"/>
            <ac:spMk id="27" creationId="{1D503F1E-631A-06BB-9FA6-AB5D4E68E9D8}"/>
          </ac:spMkLst>
        </pc:spChg>
        <pc:graphicFrameChg chg="mod modGraphic">
          <ac:chgData name="Lars Tennbakk Bockman" userId="5a235df0-e381-4c4c-99ce-24b4b21fb9d1" providerId="ADAL" clId="{37EF9059-D99C-4752-86C1-B8EAEF640EE7}" dt="2024-05-03T09:14:47.120" v="47" actId="113"/>
          <ac:graphicFrameMkLst>
            <pc:docMk/>
            <pc:sldMk cId="362544367" sldId="264"/>
            <ac:graphicFrameMk id="5" creationId="{131A36CF-B9F9-5E74-5113-847B2A062B33}"/>
          </ac:graphicFrameMkLst>
        </pc:graphicFrameChg>
      </pc:sldChg>
      <pc:sldChg chg="modSp mod">
        <pc:chgData name="Lars Tennbakk Bockman" userId="5a235df0-e381-4c4c-99ce-24b4b21fb9d1" providerId="ADAL" clId="{37EF9059-D99C-4752-86C1-B8EAEF640EE7}" dt="2024-05-03T09:12:48.498" v="40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37EF9059-D99C-4752-86C1-B8EAEF640EE7}" dt="2024-05-03T09:12:48.498" v="40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37EF9059-D99C-4752-86C1-B8EAEF640EE7}" dt="2024-05-03T09:05:54.995" v="4" actId="1482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37EF9059-D99C-4752-86C1-B8EAEF640EE7}" dt="2024-05-03T09:01:41.941" v="0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Tennbakk Bockman" userId="5a235df0-e381-4c4c-99ce-24b4b21fb9d1" providerId="ADAL" clId="{37EF9059-D99C-4752-86C1-B8EAEF640EE7}" dt="2024-05-03T09:05:50.635" v="3" actId="14826"/>
          <ac:picMkLst>
            <pc:docMk/>
            <pc:sldMk cId="964345901" sldId="269"/>
            <ac:picMk id="19" creationId="{48D81E10-A362-0BE0-5A29-09482A073F28}"/>
          </ac:picMkLst>
        </pc:picChg>
      </pc:sldChg>
      <pc:sldChg chg="modSp">
        <pc:chgData name="Lars Tennbakk Bockman" userId="5a235df0-e381-4c4c-99ce-24b4b21fb9d1" providerId="ADAL" clId="{37EF9059-D99C-4752-86C1-B8EAEF640EE7}" dt="2024-05-03T09:05:01.521" v="2" actId="14826"/>
        <pc:sldMkLst>
          <pc:docMk/>
          <pc:sldMk cId="4275014000" sldId="270"/>
        </pc:sldMkLst>
        <pc:picChg chg="mod">
          <ac:chgData name="Lars Tennbakk Bockman" userId="5a235df0-e381-4c4c-99ce-24b4b21fb9d1" providerId="ADAL" clId="{37EF9059-D99C-4752-86C1-B8EAEF640EE7}" dt="2024-05-03T09:05:01.521" v="2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37EF9059-D99C-4752-86C1-B8EAEF640EE7}" dt="2024-05-03T09:01:51.173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addSp delSp modSp mod">
        <pc:chgData name="Lars Tennbakk Bockman" userId="5a235df0-e381-4c4c-99ce-24b4b21fb9d1" providerId="ADAL" clId="{37EF9059-D99C-4752-86C1-B8EAEF640EE7}" dt="2024-05-03T09:21:35.955" v="166" actId="2711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37EF9059-D99C-4752-86C1-B8EAEF640EE7}" dt="2024-05-03T09:15:50.910" v="55" actId="1076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del">
          <ac:chgData name="Lars Tennbakk Bockman" userId="5a235df0-e381-4c4c-99ce-24b4b21fb9d1" providerId="ADAL" clId="{37EF9059-D99C-4752-86C1-B8EAEF640EE7}" dt="2024-05-03T09:15:45.278" v="54" actId="478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mod modGraphic">
          <ac:chgData name="Lars Tennbakk Bockman" userId="5a235df0-e381-4c4c-99ce-24b4b21fb9d1" providerId="ADAL" clId="{37EF9059-D99C-4752-86C1-B8EAEF640EE7}" dt="2024-05-03T09:21:35.955" v="166" actId="2711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add mod modGraphic">
          <ac:chgData name="Lars Tennbakk Bockman" userId="5a235df0-e381-4c4c-99ce-24b4b21fb9d1" providerId="ADAL" clId="{37EF9059-D99C-4752-86C1-B8EAEF640EE7}" dt="2024-05-03T09:18:01.375" v="91" actId="20577"/>
          <ac:graphicFrameMkLst>
            <pc:docMk/>
            <pc:sldMk cId="4169780862" sldId="274"/>
            <ac:graphicFrameMk id="8" creationId="{9D907BB4-9F15-FD3A-91D5-E60990E33FBE}"/>
          </ac:graphicFrameMkLst>
        </pc:graphicFrameChg>
      </pc:sldChg>
      <pc:sldChg chg="modSp mod">
        <pc:chgData name="Lars Tennbakk Bockman" userId="5a235df0-e381-4c4c-99ce-24b4b21fb9d1" providerId="ADAL" clId="{37EF9059-D99C-4752-86C1-B8EAEF640EE7}" dt="2024-05-03T09:12:25.161" v="24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37EF9059-D99C-4752-86C1-B8EAEF640EE7}" dt="2024-05-03T09:12:25.161" v="24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37EF9059-D99C-4752-86C1-B8EAEF640EE7}" dt="2024-05-03T09:11:38.673" v="5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37EF9059-D99C-4752-86C1-B8EAEF640EE7}" dt="2024-05-03T09:11:49.958" v="6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37EF9059-D99C-4752-86C1-B8EAEF640EE7}" dt="2024-05-03T09:12:01.680" v="10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37EF9059-D99C-4752-86C1-B8EAEF640EE7}" dt="2024-05-03T09:11:55.138" v="7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37EF9059-D99C-4752-86C1-B8EAEF640EE7}" dt="2024-05-03T09:11:58.105" v="8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37EF9059-D99C-4752-86C1-B8EAEF640EE7}" dt="2024-05-03T09:12:06.713" v="12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37EF9059-D99C-4752-86C1-B8EAEF640EE7}" dt="2024-05-03T09:12:03.656" v="11" actId="1076"/>
          <ac:picMkLst>
            <pc:docMk/>
            <pc:sldMk cId="1400664593" sldId="275"/>
            <ac:picMk id="1034" creationId="{93E8EE5C-F00F-9D19-55F8-6D26C9255442}"/>
          </ac:picMkLst>
        </pc:picChg>
      </pc:sldChg>
    </pc:docChg>
  </pc:docChgLst>
  <pc:docChgLst>
    <pc:chgData name="Lars Tennbakk Bockman" userId="5a235df0-e381-4c4c-99ce-24b4b21fb9d1" providerId="ADAL" clId="{D8FC7D48-BB51-4BF8-9320-0C2DEEC22118}"/>
    <pc:docChg chg="modSld">
      <pc:chgData name="Lars Tennbakk Bockman" userId="5a235df0-e381-4c4c-99ce-24b4b21fb9d1" providerId="ADAL" clId="{D8FC7D48-BB51-4BF8-9320-0C2DEEC22118}" dt="2024-04-26T12:44:00.145" v="2317" actId="20577"/>
      <pc:docMkLst>
        <pc:docMk/>
      </pc:docMkLst>
    </pc:docChg>
  </pc:docChgLst>
  <pc:docChgLst>
    <pc:chgData name="Lars Tennbakk Bockman" userId="5a235df0-e381-4c4c-99ce-24b4b21fb9d1" providerId="ADAL" clId="{C5A5C764-A305-4B0D-9BEA-1C872162588B}"/>
    <pc:docChg chg="custSel addSld delSld modSld sldOrd">
      <pc:chgData name="Lars Tennbakk Bockman" userId="5a235df0-e381-4c4c-99ce-24b4b21fb9d1" providerId="ADAL" clId="{C5A5C764-A305-4B0D-9BEA-1C872162588B}" dt="2024-06-25T13:17:52.641" v="2007" actId="20577"/>
      <pc:docMkLst>
        <pc:docMk/>
      </pc:docMkLst>
      <pc:sldChg chg="add del ord setBg">
        <pc:chgData name="Lars Tennbakk Bockman" userId="5a235df0-e381-4c4c-99ce-24b4b21fb9d1" providerId="ADAL" clId="{C5A5C764-A305-4B0D-9BEA-1C872162588B}" dt="2024-06-25T13:09:29.698" v="1631" actId="47"/>
        <pc:sldMkLst>
          <pc:docMk/>
          <pc:sldMk cId="1834315246" sldId="278"/>
        </pc:sldMkLst>
      </pc:sldChg>
      <pc:sldChg chg="modSp add mod ord">
        <pc:chgData name="Lars Tennbakk Bockman" userId="5a235df0-e381-4c4c-99ce-24b4b21fb9d1" providerId="ADAL" clId="{C5A5C764-A305-4B0D-9BEA-1C872162588B}" dt="2024-06-25T13:17:52.641" v="2007" actId="20577"/>
        <pc:sldMkLst>
          <pc:docMk/>
          <pc:sldMk cId="4100358197" sldId="278"/>
        </pc:sldMkLst>
        <pc:spChg chg="mod">
          <ac:chgData name="Lars Tennbakk Bockman" userId="5a235df0-e381-4c4c-99ce-24b4b21fb9d1" providerId="ADAL" clId="{C5A5C764-A305-4B0D-9BEA-1C872162588B}" dt="2024-06-25T13:09:35.534" v="1636" actId="20577"/>
          <ac:spMkLst>
            <pc:docMk/>
            <pc:sldMk cId="4100358197" sldId="278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C5A5C764-A305-4B0D-9BEA-1C872162588B}" dt="2024-06-25T13:17:52.641" v="2007" actId="20577"/>
          <ac:spMkLst>
            <pc:docMk/>
            <pc:sldMk cId="4100358197" sldId="278"/>
            <ac:spMk id="14" creationId="{21531C8D-908F-3C5D-76AA-208A0DF8D559}"/>
          </ac:spMkLst>
        </pc:spChg>
      </pc:sldChg>
    </pc:docChg>
  </pc:docChgLst>
  <pc:docChgLst>
    <pc:chgData name="Iselin Ekeli Rønningsbakk" userId="187300ae-9cb6-416d-8a94-664ca977a24d" providerId="ADAL" clId="{616419BA-47B3-418F-AB07-31CDFCDA77EF}"/>
    <pc:docChg chg="custSel modSld">
      <pc:chgData name="Iselin Ekeli Rønningsbakk" userId="187300ae-9cb6-416d-8a94-664ca977a24d" providerId="ADAL" clId="{616419BA-47B3-418F-AB07-31CDFCDA77EF}" dt="2024-08-08T08:55:07.696" v="184" actId="6549"/>
      <pc:docMkLst>
        <pc:docMk/>
      </pc:docMkLst>
    </pc:docChg>
  </pc:docChgLst>
  <pc:docChgLst>
    <pc:chgData name="Ingeborg Aarø" userId="fe5f74f8-3120-49da-a10f-7c51be1254b1" providerId="ADAL" clId="{3E23246F-6FD0-B24D-8CF4-75D0BC8AB8A9}"/>
    <pc:docChg chg="custSel modSld">
      <pc:chgData name="Ingeborg Aarø" userId="fe5f74f8-3120-49da-a10f-7c51be1254b1" providerId="ADAL" clId="{3E23246F-6FD0-B24D-8CF4-75D0BC8AB8A9}" dt="2024-06-05T11:10:17.415" v="7" actId="14100"/>
      <pc:docMkLst>
        <pc:docMk/>
      </pc:docMkLst>
      <pc:sldChg chg="addSp delSp modSp mod">
        <pc:chgData name="Ingeborg Aarø" userId="fe5f74f8-3120-49da-a10f-7c51be1254b1" providerId="ADAL" clId="{3E23246F-6FD0-B24D-8CF4-75D0BC8AB8A9}" dt="2024-06-05T11:10:17.415" v="7" actId="14100"/>
        <pc:sldMkLst>
          <pc:docMk/>
          <pc:sldMk cId="3149972175" sldId="261"/>
        </pc:sldMkLst>
        <pc:picChg chg="del">
          <ac:chgData name="Ingeborg Aarø" userId="fe5f74f8-3120-49da-a10f-7c51be1254b1" providerId="ADAL" clId="{3E23246F-6FD0-B24D-8CF4-75D0BC8AB8A9}" dt="2024-06-05T11:09:56.758" v="0" actId="478"/>
          <ac:picMkLst>
            <pc:docMk/>
            <pc:sldMk cId="3149972175" sldId="261"/>
            <ac:picMk id="4" creationId="{A59844B1-9FC8-FC56-428A-4133A67D4341}"/>
          </ac:picMkLst>
        </pc:picChg>
        <pc:picChg chg="add mod">
          <ac:chgData name="Ingeborg Aarø" userId="fe5f74f8-3120-49da-a10f-7c51be1254b1" providerId="ADAL" clId="{3E23246F-6FD0-B24D-8CF4-75D0BC8AB8A9}" dt="2024-06-05T11:10:17.415" v="7" actId="14100"/>
          <ac:picMkLst>
            <pc:docMk/>
            <pc:sldMk cId="3149972175" sldId="261"/>
            <ac:picMk id="10" creationId="{916CE268-1055-5179-8138-AC5C45371492}"/>
          </ac:picMkLst>
        </pc:picChg>
      </pc:sldChg>
    </pc:docChg>
  </pc:docChgLst>
  <pc:docChgLst>
    <pc:chgData name="Lars Tennbakk Bockman" userId="5a235df0-e381-4c4c-99ce-24b4b21fb9d1" providerId="ADAL" clId="{29571FDC-99EC-43E1-BF44-2567C8FCCD48}"/>
    <pc:docChg chg="custSel modSld">
      <pc:chgData name="Lars Tennbakk Bockman" userId="5a235df0-e381-4c4c-99ce-24b4b21fb9d1" providerId="ADAL" clId="{29571FDC-99EC-43E1-BF44-2567C8FCCD48}" dt="2024-09-05T10:27:08.662" v="7072" actId="20577"/>
      <pc:docMkLst>
        <pc:docMk/>
      </pc:docMkLst>
      <pc:sldChg chg="modSp mod">
        <pc:chgData name="Lars Tennbakk Bockman" userId="5a235df0-e381-4c4c-99ce-24b4b21fb9d1" providerId="ADAL" clId="{29571FDC-99EC-43E1-BF44-2567C8FCCD48}" dt="2024-09-05T09:26:34.090" v="6308" actId="20577"/>
        <pc:sldMkLst>
          <pc:docMk/>
          <pc:sldMk cId="4148148830" sldId="259"/>
        </pc:sldMkLst>
        <pc:spChg chg="mod">
          <ac:chgData name="Lars Tennbakk Bockman" userId="5a235df0-e381-4c4c-99ce-24b4b21fb9d1" providerId="ADAL" clId="{29571FDC-99EC-43E1-BF44-2567C8FCCD48}" dt="2024-09-05T09:26:34.090" v="6308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addSp delSp modSp mod">
        <pc:chgData name="Lars Tennbakk Bockman" userId="5a235df0-e381-4c4c-99ce-24b4b21fb9d1" providerId="ADAL" clId="{29571FDC-99EC-43E1-BF44-2567C8FCCD48}" dt="2024-09-05T10:16:44.729" v="6328" actId="20577"/>
        <pc:sldMkLst>
          <pc:docMk/>
          <pc:sldMk cId="362544367" sldId="264"/>
        </pc:sldMkLst>
        <pc:graphicFrameChg chg="add mod modGraphic">
          <ac:chgData name="Lars Tennbakk Bockman" userId="5a235df0-e381-4c4c-99ce-24b4b21fb9d1" providerId="ADAL" clId="{29571FDC-99EC-43E1-BF44-2567C8FCCD48}" dt="2024-09-05T10:16:44.729" v="6328" actId="20577"/>
          <ac:graphicFrameMkLst>
            <pc:docMk/>
            <pc:sldMk cId="362544367" sldId="264"/>
            <ac:graphicFrameMk id="5" creationId="{82A97BC1-0146-98EB-A620-08F6E7FBCE0E}"/>
          </ac:graphicFrameMkLst>
        </pc:graphicFrameChg>
        <pc:graphicFrameChg chg="del">
          <ac:chgData name="Lars Tennbakk Bockman" userId="5a235df0-e381-4c4c-99ce-24b4b21fb9d1" providerId="ADAL" clId="{29571FDC-99EC-43E1-BF44-2567C8FCCD48}" dt="2024-09-05T10:16:09.889" v="6317" actId="478"/>
          <ac:graphicFrameMkLst>
            <pc:docMk/>
            <pc:sldMk cId="362544367" sldId="264"/>
            <ac:graphicFrameMk id="12" creationId="{6772965F-CB17-3B6D-0530-7DDA24BA3BA3}"/>
          </ac:graphicFrameMkLst>
        </pc:graphicFrameChg>
      </pc:sldChg>
      <pc:sldChg chg="addSp modSp mod">
        <pc:chgData name="Lars Tennbakk Bockman" userId="5a235df0-e381-4c4c-99ce-24b4b21fb9d1" providerId="ADAL" clId="{29571FDC-99EC-43E1-BF44-2567C8FCCD48}" dt="2024-09-05T10:27:08.662" v="7072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29571FDC-99EC-43E1-BF44-2567C8FCCD48}" dt="2024-09-05T10:27:08.662" v="7072" actId="20577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Lars Tennbakk Bockman" userId="5a235df0-e381-4c4c-99ce-24b4b21fb9d1" providerId="ADAL" clId="{29571FDC-99EC-43E1-BF44-2567C8FCCD48}" dt="2024-09-05T09:17:06.120" v="5638" actId="404"/>
          <ac:spMkLst>
            <pc:docMk/>
            <pc:sldMk cId="3809428704" sldId="268"/>
            <ac:spMk id="3" creationId="{8A3EFEB1-D7F7-A46E-7DED-AE462CEAB1A0}"/>
          </ac:spMkLst>
        </pc:spChg>
        <pc:spChg chg="add mod">
          <ac:chgData name="Lars Tennbakk Bockman" userId="5a235df0-e381-4c4c-99ce-24b4b21fb9d1" providerId="ADAL" clId="{29571FDC-99EC-43E1-BF44-2567C8FCCD48}" dt="2024-09-05T09:23:00.527" v="6044" actId="20577"/>
          <ac:spMkLst>
            <pc:docMk/>
            <pc:sldMk cId="3809428704" sldId="268"/>
            <ac:spMk id="4" creationId="{BE7CE246-E4ED-6235-23CC-FAC201DE393A}"/>
          </ac:spMkLst>
        </pc:spChg>
      </pc:sldChg>
      <pc:sldChg chg="modSp mod">
        <pc:chgData name="Lars Tennbakk Bockman" userId="5a235df0-e381-4c4c-99ce-24b4b21fb9d1" providerId="ADAL" clId="{29571FDC-99EC-43E1-BF44-2567C8FCCD48}" dt="2024-09-04T11:49:37.917" v="1878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29571FDC-99EC-43E1-BF44-2567C8FCCD48}" dt="2024-09-04T09:46:01.305" v="536" actId="20577"/>
          <ac:spMkLst>
            <pc:docMk/>
            <pc:sldMk cId="4275014000" sldId="270"/>
            <ac:spMk id="8" creationId="{9F768446-0AB2-B3E1-3333-88CAAE767719}"/>
          </ac:spMkLst>
        </pc:spChg>
        <pc:spChg chg="mod">
          <ac:chgData name="Lars Tennbakk Bockman" userId="5a235df0-e381-4c4c-99ce-24b4b21fb9d1" providerId="ADAL" clId="{29571FDC-99EC-43E1-BF44-2567C8FCCD48}" dt="2024-09-04T11:49:01.366" v="1745" actId="20577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29571FDC-99EC-43E1-BF44-2567C8FCCD48}" dt="2024-09-04T11:49:37.917" v="1878" actId="20577"/>
          <ac:spMkLst>
            <pc:docMk/>
            <pc:sldMk cId="4275014000" sldId="270"/>
            <ac:spMk id="14" creationId="{21531C8D-908F-3C5D-76AA-208A0DF8D559}"/>
          </ac:spMkLst>
        </pc:spChg>
        <pc:picChg chg="mod">
          <ac:chgData name="Lars Tennbakk Bockman" userId="5a235df0-e381-4c4c-99ce-24b4b21fb9d1" providerId="ADAL" clId="{29571FDC-99EC-43E1-BF44-2567C8FCCD48}" dt="2024-09-04T11:36:20.204" v="978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29571FDC-99EC-43E1-BF44-2567C8FCCD48}" dt="2024-09-04T09:45:54.681" v="523" actId="14826"/>
          <ac:picMkLst>
            <pc:docMk/>
            <pc:sldMk cId="4275014000" sldId="270"/>
            <ac:picMk id="5" creationId="{1FC70556-B41D-FA15-EDBD-21B7105AEC8B}"/>
          </ac:picMkLst>
        </pc:picChg>
        <pc:picChg chg="mod">
          <ac:chgData name="Lars Tennbakk Bockman" userId="5a235df0-e381-4c4c-99ce-24b4b21fb9d1" providerId="ADAL" clId="{29571FDC-99EC-43E1-BF44-2567C8FCCD48}" dt="2024-09-04T11:38:23.512" v="979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addSp delSp modSp mod">
        <pc:chgData name="Lars Tennbakk Bockman" userId="5a235df0-e381-4c4c-99ce-24b4b21fb9d1" providerId="ADAL" clId="{29571FDC-99EC-43E1-BF44-2567C8FCCD48}" dt="2024-09-05T10:21:39.876" v="6484" actId="20577"/>
        <pc:sldMkLst>
          <pc:docMk/>
          <pc:sldMk cId="4169780862" sldId="274"/>
        </pc:sldMkLst>
        <pc:graphicFrameChg chg="add mod modGraphic">
          <ac:chgData name="Lars Tennbakk Bockman" userId="5a235df0-e381-4c4c-99ce-24b4b21fb9d1" providerId="ADAL" clId="{29571FDC-99EC-43E1-BF44-2567C8FCCD48}" dt="2024-09-05T10:19:38.167" v="6368" actId="14100"/>
          <ac:graphicFrameMkLst>
            <pc:docMk/>
            <pc:sldMk cId="4169780862" sldId="274"/>
            <ac:graphicFrameMk id="3" creationId="{C9E4F81C-2D16-3D89-C7B7-F592571EB735}"/>
          </ac:graphicFrameMkLst>
        </pc:graphicFrameChg>
        <pc:graphicFrameChg chg="modGraphic">
          <ac:chgData name="Lars Tennbakk Bockman" userId="5a235df0-e381-4c4c-99ce-24b4b21fb9d1" providerId="ADAL" clId="{29571FDC-99EC-43E1-BF44-2567C8FCCD48}" dt="2024-09-05T10:21:39.876" v="6484" actId="20577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mod modGraphic">
          <ac:chgData name="Lars Tennbakk Bockman" userId="5a235df0-e381-4c4c-99ce-24b4b21fb9d1" providerId="ADAL" clId="{29571FDC-99EC-43E1-BF44-2567C8FCCD48}" dt="2024-09-05T10:17:15.891" v="6333" actId="14100"/>
          <ac:graphicFrameMkLst>
            <pc:docMk/>
            <pc:sldMk cId="4169780862" sldId="274"/>
            <ac:graphicFrameMk id="8" creationId="{9D907BB4-9F15-FD3A-91D5-E60990E33FBE}"/>
          </ac:graphicFrameMkLst>
        </pc:graphicFrameChg>
        <pc:graphicFrameChg chg="del">
          <ac:chgData name="Lars Tennbakk Bockman" userId="5a235df0-e381-4c4c-99ce-24b4b21fb9d1" providerId="ADAL" clId="{29571FDC-99EC-43E1-BF44-2567C8FCCD48}" dt="2024-09-05T10:16:59.260" v="6330" actId="478"/>
          <ac:graphicFrameMkLst>
            <pc:docMk/>
            <pc:sldMk cId="4169780862" sldId="274"/>
            <ac:graphicFrameMk id="9" creationId="{802A8D75-109B-34DB-E33A-DD6C1627DEB3}"/>
          </ac:graphicFrameMkLst>
        </pc:graphicFrameChg>
      </pc:sldChg>
      <pc:sldChg chg="modSp">
        <pc:chgData name="Lars Tennbakk Bockman" userId="5a235df0-e381-4c4c-99ce-24b4b21fb9d1" providerId="ADAL" clId="{29571FDC-99EC-43E1-BF44-2567C8FCCD48}" dt="2024-09-05T10:06:12.379" v="6309" actId="14826"/>
        <pc:sldMkLst>
          <pc:docMk/>
          <pc:sldMk cId="3048309862" sldId="277"/>
        </pc:sldMkLst>
        <pc:picChg chg="mod">
          <ac:chgData name="Lars Tennbakk Bockman" userId="5a235df0-e381-4c4c-99ce-24b4b21fb9d1" providerId="ADAL" clId="{29571FDC-99EC-43E1-BF44-2567C8FCCD48}" dt="2024-09-05T10:06:12.379" v="6309" actId="14826"/>
          <ac:picMkLst>
            <pc:docMk/>
            <pc:sldMk cId="3048309862" sldId="277"/>
            <ac:picMk id="15" creationId="{E74EA589-72EA-AA47-0E44-BCAE8A4D908E}"/>
          </ac:picMkLst>
        </pc:picChg>
      </pc:sldChg>
    </pc:docChg>
  </pc:docChgLst>
  <pc:docChgLst>
    <pc:chgData name="Iselin Ekeli Rønningsbakk" userId="187300ae-9cb6-416d-8a94-664ca977a24d" providerId="ADAL" clId="{CA485EF5-6DA2-4557-BD62-EC26CEFF2A42}"/>
    <pc:docChg chg="custSel modSld">
      <pc:chgData name="Iselin Ekeli Rønningsbakk" userId="187300ae-9cb6-416d-8a94-664ca977a24d" providerId="ADAL" clId="{CA485EF5-6DA2-4557-BD62-EC26CEFF2A42}" dt="2024-08-06T10:47:07.707" v="1558"/>
      <pc:docMkLst>
        <pc:docMk/>
      </pc:docMkLst>
    </pc:docChg>
  </pc:docChgLst>
  <pc:docChgLst>
    <pc:chgData name="Iselin Ekeli Rønningsbakk" userId="187300ae-9cb6-416d-8a94-664ca977a24d" providerId="ADAL" clId="{BE1E70E2-D39A-49B1-B6DD-553612B71992}"/>
    <pc:docChg chg="modSld">
      <pc:chgData name="Iselin Ekeli Rønningsbakk" userId="187300ae-9cb6-416d-8a94-664ca977a24d" providerId="ADAL" clId="{BE1E70E2-D39A-49B1-B6DD-553612B71992}" dt="2024-09-11T12:17:57.257" v="213" actId="20577"/>
      <pc:docMkLst>
        <pc:docMk/>
      </pc:docMkLst>
    </pc:docChg>
  </pc:docChgLst>
  <pc:docChgLst>
    <pc:chgData name="Lars Tennbakk Bockman" userId="S::lars.bockman@fornybarnorge.no::5a235df0-e381-4c4c-99ce-24b4b21fb9d1" providerId="AD" clId="Web-{135D72C6-048A-1E52-1933-57CFC18A5CB6}"/>
    <pc:docChg chg="">
      <pc:chgData name="Lars Tennbakk Bockman" userId="S::lars.bockman@fornybarnorge.no::5a235df0-e381-4c4c-99ce-24b4b21fb9d1" providerId="AD" clId="Web-{135D72C6-048A-1E52-1933-57CFC18A5CB6}" dt="2024-06-05T13:57:23.973" v="0"/>
      <pc:docMkLst>
        <pc:docMk/>
      </pc:docMkLst>
    </pc:docChg>
  </pc:docChgLst>
  <pc:docChgLst>
    <pc:chgData name="Lars Tennbakk Bockman" userId="5a235df0-e381-4c4c-99ce-24b4b21fb9d1" providerId="ADAL" clId="{2DD08CE4-CA9B-4C62-8211-1FE07A121053}"/>
    <pc:docChg chg="undo custSel modSld">
      <pc:chgData name="Lars Tennbakk Bockman" userId="5a235df0-e381-4c4c-99ce-24b4b21fb9d1" providerId="ADAL" clId="{2DD08CE4-CA9B-4C62-8211-1FE07A121053}" dt="2024-10-04T10:03:57.895" v="2678" actId="20577"/>
      <pc:docMkLst>
        <pc:docMk/>
      </pc:docMkLst>
      <pc:sldChg chg="modSp mod modCm">
        <pc:chgData name="Lars Tennbakk Bockman" userId="5a235df0-e381-4c4c-99ce-24b4b21fb9d1" providerId="ADAL" clId="{2DD08CE4-CA9B-4C62-8211-1FE07A121053}" dt="2024-10-04T10:03:57.895" v="2678" actId="20577"/>
        <pc:sldMkLst>
          <pc:docMk/>
          <pc:sldMk cId="4148148830" sldId="259"/>
        </pc:sldMkLst>
        <pc:spChg chg="mod">
          <ac:chgData name="Lars Tennbakk Bockman" userId="5a235df0-e381-4c4c-99ce-24b4b21fb9d1" providerId="ADAL" clId="{2DD08CE4-CA9B-4C62-8211-1FE07A121053}" dt="2024-10-04T10:03:57.895" v="2678" actId="20577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2DD08CE4-CA9B-4C62-8211-1FE07A121053}" dt="2024-10-04T10:03:57.895" v="2678" actId="20577"/>
              <pc2:cmMkLst xmlns:pc2="http://schemas.microsoft.com/office/powerpoint/2019/9/main/command">
                <pc:docMk/>
                <pc:sldMk cId="4148148830" sldId="259"/>
                <pc2:cmMk id="{83A35CC2-E05B-4685-AD7D-7EB6C0D18964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2DD08CE4-CA9B-4C62-8211-1FE07A121053}" dt="2024-10-03T09:14:09.589" v="2401" actId="113"/>
        <pc:sldMkLst>
          <pc:docMk/>
          <pc:sldMk cId="362544367" sldId="264"/>
        </pc:sldMkLst>
        <pc:graphicFrameChg chg="del">
          <ac:chgData name="Lars Tennbakk Bockman" userId="5a235df0-e381-4c4c-99ce-24b4b21fb9d1" providerId="ADAL" clId="{2DD08CE4-CA9B-4C62-8211-1FE07A121053}" dt="2024-10-03T09:13:19.915" v="2388" actId="478"/>
          <ac:graphicFrameMkLst>
            <pc:docMk/>
            <pc:sldMk cId="362544367" sldId="264"/>
            <ac:graphicFrameMk id="5" creationId="{82A97BC1-0146-98EB-A620-08F6E7FBCE0E}"/>
          </ac:graphicFrameMkLst>
        </pc:graphicFrameChg>
        <pc:graphicFrameChg chg="add mod modGraphic">
          <ac:chgData name="Lars Tennbakk Bockman" userId="5a235df0-e381-4c4c-99ce-24b4b21fb9d1" providerId="ADAL" clId="{2DD08CE4-CA9B-4C62-8211-1FE07A121053}" dt="2024-10-03T09:14:09.589" v="2401" actId="113"/>
          <ac:graphicFrameMkLst>
            <pc:docMk/>
            <pc:sldMk cId="362544367" sldId="264"/>
            <ac:graphicFrameMk id="10" creationId="{5EFAB2C3-A48B-F621-EDD7-43DD2497F6BD}"/>
          </ac:graphicFrameMkLst>
        </pc:graphicFrameChg>
      </pc:sldChg>
      <pc:sldChg chg="modSp mod">
        <pc:chgData name="Lars Tennbakk Bockman" userId="5a235df0-e381-4c4c-99ce-24b4b21fb9d1" providerId="ADAL" clId="{2DD08CE4-CA9B-4C62-8211-1FE07A121053}" dt="2024-10-04T10:01:11.410" v="2565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2DD08CE4-CA9B-4C62-8211-1FE07A121053}" dt="2024-10-04T10:01:11.410" v="2565" actId="20577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Lars Tennbakk Bockman" userId="5a235df0-e381-4c4c-99ce-24b4b21fb9d1" providerId="ADAL" clId="{2DD08CE4-CA9B-4C62-8211-1FE07A121053}" dt="2024-10-04T10:00:25.870" v="2564" actId="20577"/>
          <ac:spMkLst>
            <pc:docMk/>
            <pc:sldMk cId="3809428704" sldId="268"/>
            <ac:spMk id="3" creationId="{8A3EFEB1-D7F7-A46E-7DED-AE462CEAB1A0}"/>
          </ac:spMkLst>
        </pc:spChg>
      </pc:sldChg>
      <pc:sldChg chg="addSp delSp modSp mod">
        <pc:chgData name="Lars Tennbakk Bockman" userId="5a235df0-e381-4c4c-99ce-24b4b21fb9d1" providerId="ADAL" clId="{2DD08CE4-CA9B-4C62-8211-1FE07A121053}" dt="2024-10-03T09:20:21.847" v="2484" actId="14734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2DD08CE4-CA9B-4C62-8211-1FE07A121053}" dt="2024-10-03T09:17:23.996" v="2413" actId="14100"/>
          <ac:graphicFrameMkLst>
            <pc:docMk/>
            <pc:sldMk cId="4169780862" sldId="274"/>
            <ac:graphicFrameMk id="3" creationId="{C9E4F81C-2D16-3D89-C7B7-F592571EB735}"/>
          </ac:graphicFrameMkLst>
        </pc:graphicFrameChg>
        <pc:graphicFrameChg chg="add mod modGraphic">
          <ac:chgData name="Lars Tennbakk Bockman" userId="5a235df0-e381-4c4c-99ce-24b4b21fb9d1" providerId="ADAL" clId="{2DD08CE4-CA9B-4C62-8211-1FE07A121053}" dt="2024-10-03T09:20:21.847" v="2484" actId="14734"/>
          <ac:graphicFrameMkLst>
            <pc:docMk/>
            <pc:sldMk cId="4169780862" sldId="274"/>
            <ac:graphicFrameMk id="6" creationId="{3040DF2B-6FC0-04F9-71E1-C5F465090CCB}"/>
          </ac:graphicFrameMkLst>
        </pc:graphicFrameChg>
        <pc:graphicFrameChg chg="del">
          <ac:chgData name="Lars Tennbakk Bockman" userId="5a235df0-e381-4c4c-99ce-24b4b21fb9d1" providerId="ADAL" clId="{2DD08CE4-CA9B-4C62-8211-1FE07A121053}" dt="2024-10-03T09:17:02.985" v="2408" actId="478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del">
          <ac:chgData name="Lars Tennbakk Bockman" userId="5a235df0-e381-4c4c-99ce-24b4b21fb9d1" providerId="ADAL" clId="{2DD08CE4-CA9B-4C62-8211-1FE07A121053}" dt="2024-10-03T09:16:32.995" v="2403" actId="478"/>
          <ac:graphicFrameMkLst>
            <pc:docMk/>
            <pc:sldMk cId="4169780862" sldId="274"/>
            <ac:graphicFrameMk id="8" creationId="{9D907BB4-9F15-FD3A-91D5-E60990E33FBE}"/>
          </ac:graphicFrameMkLst>
        </pc:graphicFrameChg>
        <pc:graphicFrameChg chg="add mod modGraphic">
          <ac:chgData name="Lars Tennbakk Bockman" userId="5a235df0-e381-4c4c-99ce-24b4b21fb9d1" providerId="ADAL" clId="{2DD08CE4-CA9B-4C62-8211-1FE07A121053}" dt="2024-10-03T09:18:47.486" v="2451" actId="113"/>
          <ac:graphicFrameMkLst>
            <pc:docMk/>
            <pc:sldMk cId="4169780862" sldId="274"/>
            <ac:graphicFrameMk id="9" creationId="{36E34E62-85A8-5E23-2AE0-3436322CE7BD}"/>
          </ac:graphicFrameMkLst>
        </pc:graphicFrameChg>
        <pc:graphicFrameChg chg="add mod">
          <ac:chgData name="Lars Tennbakk Bockman" userId="5a235df0-e381-4c4c-99ce-24b4b21fb9d1" providerId="ADAL" clId="{2DD08CE4-CA9B-4C62-8211-1FE07A121053}" dt="2024-10-03T09:19:24.168" v="2472"/>
          <ac:graphicFrameMkLst>
            <pc:docMk/>
            <pc:sldMk cId="4169780862" sldId="274"/>
            <ac:graphicFrameMk id="10" creationId="{4EA72B15-3976-00D6-ACCF-F9C1380F7A49}"/>
          </ac:graphicFrameMkLst>
        </pc:graphicFrameChg>
      </pc:sldChg>
      <pc:sldChg chg="modSp">
        <pc:chgData name="Lars Tennbakk Bockman" userId="5a235df0-e381-4c4c-99ce-24b4b21fb9d1" providerId="ADAL" clId="{2DD08CE4-CA9B-4C62-8211-1FE07A121053}" dt="2024-10-03T09:25:04.492" v="2486" actId="14826"/>
        <pc:sldMkLst>
          <pc:docMk/>
          <pc:sldMk cId="3048309862" sldId="277"/>
        </pc:sldMkLst>
        <pc:picChg chg="mod">
          <ac:chgData name="Lars Tennbakk Bockman" userId="5a235df0-e381-4c4c-99ce-24b4b21fb9d1" providerId="ADAL" clId="{2DD08CE4-CA9B-4C62-8211-1FE07A121053}" dt="2024-10-03T09:25:04.492" v="2486" actId="14826"/>
          <ac:picMkLst>
            <pc:docMk/>
            <pc:sldMk cId="3048309862" sldId="277"/>
            <ac:picMk id="15" creationId="{E74EA589-72EA-AA47-0E44-BCAE8A4D908E}"/>
          </ac:picMkLst>
        </pc:picChg>
      </pc:sldChg>
    </pc:docChg>
  </pc:docChgLst>
  <pc:docChgLst>
    <pc:chgData name="Iselin Ekeli Rønningsbakk" userId="187300ae-9cb6-416d-8a94-664ca977a24d" providerId="ADAL" clId="{03106EBE-8068-434C-8316-2B0B6F76A800}"/>
    <pc:docChg chg="custSel modSld">
      <pc:chgData name="Iselin Ekeli Rønningsbakk" userId="187300ae-9cb6-416d-8a94-664ca977a24d" providerId="ADAL" clId="{03106EBE-8068-434C-8316-2B0B6F76A800}" dt="2024-06-11T07:46:16.178" v="1457" actId="6549"/>
      <pc:docMkLst>
        <pc:docMk/>
      </pc:docMkLst>
    </pc:docChg>
  </pc:docChgLst>
  <pc:docChgLst>
    <pc:chgData name="Lars Tennbakk Bockman" userId="5a235df0-e381-4c4c-99ce-24b4b21fb9d1" providerId="ADAL" clId="{BEBA20C9-0E5E-4395-BCBC-0549F97599C0}"/>
    <pc:docChg chg="modSld">
      <pc:chgData name="Lars Tennbakk Bockman" userId="5a235df0-e381-4c4c-99ce-24b4b21fb9d1" providerId="ADAL" clId="{BEBA20C9-0E5E-4395-BCBC-0549F97599C0}" dt="2024-05-13T07:45:51.413" v="6"/>
      <pc:docMkLst>
        <pc:docMk/>
      </pc:docMkLst>
      <pc:sldChg chg="modSp">
        <pc:chgData name="Lars Tennbakk Bockman" userId="5a235df0-e381-4c4c-99ce-24b4b21fb9d1" providerId="ADAL" clId="{BEBA20C9-0E5E-4395-BCBC-0549F97599C0}" dt="2024-05-13T07:44:11.953" v="0" actId="14826"/>
        <pc:sldMkLst>
          <pc:docMk/>
          <pc:sldMk cId="3149972175" sldId="261"/>
        </pc:sldMkLst>
        <pc:picChg chg="mod">
          <ac:chgData name="Lars Tennbakk Bockman" userId="5a235df0-e381-4c4c-99ce-24b4b21fb9d1" providerId="ADAL" clId="{BEBA20C9-0E5E-4395-BCBC-0549F97599C0}" dt="2024-05-13T07:44:11.953" v="0" actId="14826"/>
          <ac:picMkLst>
            <pc:docMk/>
            <pc:sldMk cId="3149972175" sldId="261"/>
            <ac:picMk id="8" creationId="{8024784E-B6AC-28D7-0AB0-ADE7E934E7A1}"/>
          </ac:picMkLst>
        </pc:picChg>
      </pc:sldChg>
      <pc:sldChg chg="modCm">
        <pc:chgData name="Lars Tennbakk Bockman" userId="5a235df0-e381-4c4c-99ce-24b4b21fb9d1" providerId="ADAL" clId="{BEBA20C9-0E5E-4395-BCBC-0549F97599C0}" dt="2024-05-13T07:45:51.413" v="6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Lars Tennbakk Bockman" userId="5a235df0-e381-4c4c-99ce-24b4b21fb9d1" providerId="ADAL" clId="{BEBA20C9-0E5E-4395-BCBC-0549F97599C0}" dt="2024-05-13T07:45:51.413" v="6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  <pc226:cmRplyChg chg="add">
                <pc226:chgData name="Lars Tennbakk Bockman" userId="5a235df0-e381-4c4c-99ce-24b4b21fb9d1" providerId="ADAL" clId="{BEBA20C9-0E5E-4395-BCBC-0549F97599C0}" dt="2024-05-13T07:45:51.413" v="6"/>
                <pc2:cmRplyMkLst xmlns:pc2="http://schemas.microsoft.com/office/powerpoint/2019/9/main/command">
                  <pc:docMk/>
                  <pc:sldMk cId="3809428704" sldId="268"/>
                  <pc2:cmMk id="{97225C20-E4DC-4851-AA9D-66978ACF5BAB}"/>
                  <pc2:cmRplyMk id="{18A6AE06-4812-45F8-A912-92D8A8CB7EBF}"/>
                </pc2:cmRplyMkLst>
              </pc226:cmRplyChg>
            </pc226:cmChg>
          </p:ext>
        </pc:extLst>
      </pc:sldChg>
      <pc:sldChg chg="modSp mod">
        <pc:chgData name="Lars Tennbakk Bockman" userId="5a235df0-e381-4c4c-99ce-24b4b21fb9d1" providerId="ADAL" clId="{BEBA20C9-0E5E-4395-BCBC-0549F97599C0}" dt="2024-05-13T07:44:44.288" v="5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BEBA20C9-0E5E-4395-BCBC-0549F97599C0}" dt="2024-05-13T07:44:44.288" v="5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Lars Tennbakk Bockman" userId="S::lars.bockman@fornybarnorge.no::5a235df0-e381-4c4c-99ce-24b4b21fb9d1" providerId="AD" clId="Web-{49FDBC75-4CCE-CB32-F36A-1DA4126E09D9}"/>
    <pc:docChg chg="modSld">
      <pc:chgData name="Lars Tennbakk Bockman" userId="S::lars.bockman@fornybarnorge.no::5a235df0-e381-4c4c-99ce-24b4b21fb9d1" providerId="AD" clId="Web-{49FDBC75-4CCE-CB32-F36A-1DA4126E09D9}" dt="2024-04-03T08:36:42.371" v="1" actId="20577"/>
      <pc:docMkLst>
        <pc:docMk/>
      </pc:docMkLst>
    </pc:docChg>
  </pc:docChgLst>
  <pc:docChgLst>
    <pc:chgData name="Lars Tennbakk Bockman" userId="5a235df0-e381-4c4c-99ce-24b4b21fb9d1" providerId="ADAL" clId="{A4077F93-E2AB-46E2-80E5-72704175BD0D}"/>
    <pc:docChg chg="undo custSel modSld replTag">
      <pc:chgData name="Lars Tennbakk Bockman" userId="5a235df0-e381-4c4c-99ce-24b4b21fb9d1" providerId="ADAL" clId="{A4077F93-E2AB-46E2-80E5-72704175BD0D}" dt="2024-04-24T08:36:36.047" v="2479"/>
      <pc:docMkLst>
        <pc:docMk/>
      </pc:docMkLst>
    </pc:docChg>
  </pc:docChgLst>
  <pc:docChgLst>
    <pc:chgData name="Lars Bockman" userId="5a235df0-e381-4c4c-99ce-24b4b21fb9d1" providerId="ADAL" clId="{4F9A5B8A-219F-4CFC-84AD-F24907C89CAF}"/>
    <pc:docChg chg="custSel delSld modSld">
      <pc:chgData name="Lars Bockman" userId="5a235df0-e381-4c4c-99ce-24b4b21fb9d1" providerId="ADAL" clId="{4F9A5B8A-219F-4CFC-84AD-F24907C89CAF}" dt="2024-06-26T08:43:15.269" v="1800" actId="20577"/>
      <pc:docMkLst>
        <pc:docMk/>
      </pc:docMkLst>
      <pc:sldChg chg="modSp del mod">
        <pc:chgData name="Lars Bockman" userId="5a235df0-e381-4c4c-99ce-24b4b21fb9d1" providerId="ADAL" clId="{4F9A5B8A-219F-4CFC-84AD-F24907C89CAF}" dt="2024-06-26T08:30:18.717" v="1336" actId="47"/>
        <pc:sldMkLst>
          <pc:docMk/>
          <pc:sldMk cId="4100358197" sldId="278"/>
        </pc:sldMkLst>
        <pc:spChg chg="mod">
          <ac:chgData name="Lars Bockman" userId="5a235df0-e381-4c4c-99ce-24b4b21fb9d1" providerId="ADAL" clId="{4F9A5B8A-219F-4CFC-84AD-F24907C89CAF}" dt="2024-06-26T08:11:01.447" v="306" actId="20577"/>
          <ac:spMkLst>
            <pc:docMk/>
            <pc:sldMk cId="4100358197" sldId="278"/>
            <ac:spMk id="14" creationId="{21531C8D-908F-3C5D-76AA-208A0DF8D559}"/>
          </ac:spMkLst>
        </pc:spChg>
      </pc:sldChg>
    </pc:docChg>
  </pc:docChgLst>
  <pc:docChgLst>
    <pc:chgData name="Iselin Ekeli Rønningsbakk" userId="187300ae-9cb6-416d-8a94-664ca977a24d" providerId="ADAL" clId="{DE44C537-DB6F-4243-9C35-4B6CAECAAEF1}"/>
    <pc:docChg chg="custSel modSld">
      <pc:chgData name="Iselin Ekeli Rønningsbakk" userId="187300ae-9cb6-416d-8a94-664ca977a24d" providerId="ADAL" clId="{DE44C537-DB6F-4243-9C35-4B6CAECAAEF1}" dt="2024-07-01T12:36:51.606" v="247" actId="6549"/>
      <pc:docMkLst>
        <pc:docMk/>
      </pc:docMkLst>
      <pc:sldChg chg="modSp mod">
        <pc:chgData name="Iselin Ekeli Rønningsbakk" userId="187300ae-9cb6-416d-8a94-664ca977a24d" providerId="ADAL" clId="{DE44C537-DB6F-4243-9C35-4B6CAECAAEF1}" dt="2024-07-01T12:23:50.307" v="241" actId="6549"/>
        <pc:sldMkLst>
          <pc:docMk/>
          <pc:sldMk cId="3149972175" sldId="261"/>
        </pc:sldMkLst>
        <pc:spChg chg="mod">
          <ac:chgData name="Iselin Ekeli Rønningsbakk" userId="187300ae-9cb6-416d-8a94-664ca977a24d" providerId="ADAL" clId="{DE44C537-DB6F-4243-9C35-4B6CAECAAEF1}" dt="2024-07-01T12:23:50.307" v="241" actId="6549"/>
          <ac:spMkLst>
            <pc:docMk/>
            <pc:sldMk cId="3149972175" sldId="261"/>
            <ac:spMk id="15" creationId="{71CD328A-FCBF-98DB-A3A2-36A13A7E9980}"/>
          </ac:spMkLst>
        </pc:spChg>
      </pc:sldChg>
      <pc:sldChg chg="modSp mod">
        <pc:chgData name="Iselin Ekeli Rønningsbakk" userId="187300ae-9cb6-416d-8a94-664ca977a24d" providerId="ADAL" clId="{DE44C537-DB6F-4243-9C35-4B6CAECAAEF1}" dt="2024-07-01T12:36:51.606" v="247" actId="6549"/>
        <pc:sldMkLst>
          <pc:docMk/>
          <pc:sldMk cId="4275014000" sldId="270"/>
        </pc:sldMkLst>
        <pc:spChg chg="mod">
          <ac:chgData name="Iselin Ekeli Rønningsbakk" userId="187300ae-9cb6-416d-8a94-664ca977a24d" providerId="ADAL" clId="{DE44C537-DB6F-4243-9C35-4B6CAECAAEF1}" dt="2024-07-01T12:36:51.606" v="247" actId="6549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Iselin Ekeli Rønningsbakk" userId="187300ae-9cb6-416d-8a94-664ca977a24d" providerId="ADAL" clId="{00BA57EB-2D70-4805-ADC1-5A9049218C5B}"/>
    <pc:docChg chg="undo custSel modSld">
      <pc:chgData name="Iselin Ekeli Rønningsbakk" userId="187300ae-9cb6-416d-8a94-664ca977a24d" providerId="ADAL" clId="{00BA57EB-2D70-4805-ADC1-5A9049218C5B}" dt="2024-09-12T13:27:21.131" v="67" actId="6549"/>
      <pc:docMkLst>
        <pc:docMk/>
      </pc:docMkLst>
      <pc:sldChg chg="modSp mod modCm">
        <pc:chgData name="Iselin Ekeli Rønningsbakk" userId="187300ae-9cb6-416d-8a94-664ca977a24d" providerId="ADAL" clId="{00BA57EB-2D70-4805-ADC1-5A9049218C5B}" dt="2024-09-12T13:27:21.131" v="67" actId="6549"/>
        <pc:sldMkLst>
          <pc:docMk/>
          <pc:sldMk cId="3809428704" sldId="268"/>
        </pc:sldMkLst>
        <pc:spChg chg="mod">
          <ac:chgData name="Iselin Ekeli Rønningsbakk" userId="187300ae-9cb6-416d-8a94-664ca977a24d" providerId="ADAL" clId="{00BA57EB-2D70-4805-ADC1-5A9049218C5B}" dt="2024-09-12T13:26:48.860" v="26" actId="6549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Iselin Ekeli Rønningsbakk" userId="187300ae-9cb6-416d-8a94-664ca977a24d" providerId="ADAL" clId="{00BA57EB-2D70-4805-ADC1-5A9049218C5B}" dt="2024-09-12T13:27:21.131" v="67" actId="6549"/>
          <ac:spMkLst>
            <pc:docMk/>
            <pc:sldMk cId="3809428704" sldId="268"/>
            <ac:spMk id="3" creationId="{8A3EFEB1-D7F7-A46E-7DED-AE462CEAB1A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00BA57EB-2D70-4805-ADC1-5A9049218C5B}" dt="2024-09-12T13:26:48.860" v="26" actId="6549"/>
              <pc2:cmMkLst xmlns:pc2="http://schemas.microsoft.com/office/powerpoint/2019/9/main/command">
                <pc:docMk/>
                <pc:sldMk cId="3809428704" sldId="268"/>
                <pc2:cmMk id="{1B14C4AE-585E-44BD-92D7-68A814F4B6F7}"/>
              </pc2:cmMkLst>
            </pc226:cmChg>
            <pc226:cmChg xmlns:pc226="http://schemas.microsoft.com/office/powerpoint/2022/06/main/command" chg="mod">
              <pc226:chgData name="Iselin Ekeli Rønningsbakk" userId="187300ae-9cb6-416d-8a94-664ca977a24d" providerId="ADAL" clId="{00BA57EB-2D70-4805-ADC1-5A9049218C5B}" dt="2024-09-12T13:27:21.131" v="67" actId="6549"/>
              <pc2:cmMkLst xmlns:pc2="http://schemas.microsoft.com/office/powerpoint/2019/9/main/command">
                <pc:docMk/>
                <pc:sldMk cId="3809428704" sldId="268"/>
                <pc2:cmMk id="{F890DFE2-AA7F-4193-A6A0-323CEF6A01C0}"/>
              </pc2:cmMkLst>
            </pc226:cmChg>
          </p:ext>
        </pc:extLst>
      </pc:sldChg>
      <pc:sldChg chg="modSp mod">
        <pc:chgData name="Iselin Ekeli Rønningsbakk" userId="187300ae-9cb6-416d-8a94-664ca977a24d" providerId="ADAL" clId="{00BA57EB-2D70-4805-ADC1-5A9049218C5B}" dt="2024-09-12T11:52:15.308" v="1" actId="1076"/>
        <pc:sldMkLst>
          <pc:docMk/>
          <pc:sldMk cId="1400664593" sldId="275"/>
        </pc:sldMkLst>
        <pc:picChg chg="mod">
          <ac:chgData name="Iselin Ekeli Rønningsbakk" userId="187300ae-9cb6-416d-8a94-664ca977a24d" providerId="ADAL" clId="{00BA57EB-2D70-4805-ADC1-5A9049218C5B}" dt="2024-09-12T11:52:15.308" v="1" actId="1076"/>
          <ac:picMkLst>
            <pc:docMk/>
            <pc:sldMk cId="1400664593" sldId="275"/>
            <ac:picMk id="10" creationId="{EDD2A1DB-03B4-A540-E2CF-68A1C96AF138}"/>
          </ac:picMkLst>
        </pc:picChg>
      </pc:sldChg>
    </pc:docChg>
  </pc:docChgLst>
  <pc:docChgLst>
    <pc:chgData name="Iselin Ekeli Rønningsbakk" userId="187300ae-9cb6-416d-8a94-664ca977a24d" providerId="ADAL" clId="{750B9AAA-1068-463C-A928-621951E880E7}"/>
    <pc:docChg chg="modSld">
      <pc:chgData name="Iselin Ekeli Rønningsbakk" userId="187300ae-9cb6-416d-8a94-664ca977a24d" providerId="ADAL" clId="{750B9AAA-1068-463C-A928-621951E880E7}" dt="2024-05-08T11:20:58.602" v="1158" actId="20577"/>
      <pc:docMkLst>
        <pc:docMk/>
      </pc:docMkLst>
      <pc:sldChg chg="modSp mod">
        <pc:chgData name="Iselin Ekeli Rønningsbakk" userId="187300ae-9cb6-416d-8a94-664ca977a24d" providerId="ADAL" clId="{750B9AAA-1068-463C-A928-621951E880E7}" dt="2024-05-08T11:20:58.602" v="1158" actId="20577"/>
        <pc:sldMkLst>
          <pc:docMk/>
          <pc:sldMk cId="4148148830" sldId="259"/>
        </pc:sldMkLst>
        <pc:spChg chg="mod">
          <ac:chgData name="Iselin Ekeli Rønningsbakk" userId="187300ae-9cb6-416d-8a94-664ca977a24d" providerId="ADAL" clId="{750B9AAA-1068-463C-A928-621951E880E7}" dt="2024-05-08T11:20:58.602" v="1158" actId="20577"/>
          <ac:spMkLst>
            <pc:docMk/>
            <pc:sldMk cId="4148148830" sldId="259"/>
            <ac:spMk id="4" creationId="{02B670F3-F503-EDCF-4447-49EB9200B55E}"/>
          </ac:spMkLst>
        </pc:spChg>
      </pc:sldChg>
    </pc:docChg>
  </pc:docChgLst>
  <pc:docChgLst>
    <pc:chgData name="Iselin Ekeli Rønningsbakk" userId="187300ae-9cb6-416d-8a94-664ca977a24d" providerId="ADAL" clId="{F135FA9E-2E87-4771-A6E7-FFFD185073E8}"/>
    <pc:docChg chg="modSld">
      <pc:chgData name="Iselin Ekeli Rønningsbakk" userId="187300ae-9cb6-416d-8a94-664ca977a24d" providerId="ADAL" clId="{F135FA9E-2E87-4771-A6E7-FFFD185073E8}" dt="2024-07-04T10:42:29.485" v="9" actId="6549"/>
      <pc:docMkLst>
        <pc:docMk/>
      </pc:docMkLst>
    </pc:docChg>
  </pc:docChgLst>
  <pc:docChgLst>
    <pc:chgData name="Lars Bockman" userId="5a235df0-e381-4c4c-99ce-24b4b21fb9d1" providerId="ADAL" clId="{EDABE23E-248D-4ED0-A77F-ADFCEC09D289}"/>
    <pc:docChg chg="undo redo custSel addSld delSld modSld sldOrd replTag">
      <pc:chgData name="Lars Bockman" userId="5a235df0-e381-4c4c-99ce-24b4b21fb9d1" providerId="ADAL" clId="{EDABE23E-248D-4ED0-A77F-ADFCEC09D289}" dt="2024-06-04T11:03:29.173" v="9429"/>
      <pc:docMkLst>
        <pc:docMk/>
      </pc:docMkLst>
      <pc:sldChg chg="modSp mod">
        <pc:chgData name="Lars Bockman" userId="5a235df0-e381-4c4c-99ce-24b4b21fb9d1" providerId="ADAL" clId="{EDABE23E-248D-4ED0-A77F-ADFCEC09D289}" dt="2024-06-04T11:03:29.173" v="9429"/>
        <pc:sldMkLst>
          <pc:docMk/>
          <pc:sldMk cId="4148148830" sldId="259"/>
        </pc:sldMkLst>
        <pc:spChg chg="mod">
          <ac:chgData name="Lars Bockman" userId="5a235df0-e381-4c4c-99ce-24b4b21fb9d1" providerId="ADAL" clId="{EDABE23E-248D-4ED0-A77F-ADFCEC09D289}" dt="2024-06-04T11:03:29.173" v="9429"/>
          <ac:spMkLst>
            <pc:docMk/>
            <pc:sldMk cId="4148148830" sldId="259"/>
            <ac:spMk id="4" creationId="{02B670F3-F503-EDCF-4447-49EB9200B55E}"/>
          </ac:spMkLst>
        </pc:spChg>
      </pc:sldChg>
      <pc:sldChg chg="addSp delSp modSp mod">
        <pc:chgData name="Lars Bockman" userId="5a235df0-e381-4c4c-99ce-24b4b21fb9d1" providerId="ADAL" clId="{EDABE23E-248D-4ED0-A77F-ADFCEC09D289}" dt="2024-06-03T08:20:31.189" v="6093" actId="27636"/>
        <pc:sldMkLst>
          <pc:docMk/>
          <pc:sldMk cId="3149972175" sldId="261"/>
        </pc:sldMkLst>
        <pc:spChg chg="mod">
          <ac:chgData name="Lars Bockman" userId="5a235df0-e381-4c4c-99ce-24b4b21fb9d1" providerId="ADAL" clId="{EDABE23E-248D-4ED0-A77F-ADFCEC09D289}" dt="2024-05-27T10:30:40.015" v="3" actId="948"/>
          <ac:spMkLst>
            <pc:docMk/>
            <pc:sldMk cId="3149972175" sldId="261"/>
            <ac:spMk id="2" creationId="{EB808BFC-B71A-C9E5-5827-2A0376474563}"/>
          </ac:spMkLst>
        </pc:spChg>
        <pc:spChg chg="add del mod modVis">
          <ac:chgData name="Lars Bockman" userId="5a235df0-e381-4c4c-99ce-24b4b21fb9d1" providerId="ADAL" clId="{EDABE23E-248D-4ED0-A77F-ADFCEC09D289}" dt="2024-05-27T10:30:40.064" v="26"/>
          <ac:spMkLst>
            <pc:docMk/>
            <pc:sldMk cId="3149972175" sldId="261"/>
            <ac:spMk id="3" creationId="{F8604F48-A325-E667-0300-236E50FE56F8}"/>
          </ac:spMkLst>
        </pc:spChg>
        <pc:spChg chg="mod">
          <ac:chgData name="Lars Bockman" userId="5a235df0-e381-4c4c-99ce-24b4b21fb9d1" providerId="ADAL" clId="{EDABE23E-248D-4ED0-A77F-ADFCEC09D289}" dt="2024-06-03T08:20:31.189" v="6093" actId="27636"/>
          <ac:spMkLst>
            <pc:docMk/>
            <pc:sldMk cId="3149972175" sldId="261"/>
            <ac:spMk id="15" creationId="{71CD328A-FCBF-98DB-A3A2-36A13A7E9980}"/>
          </ac:spMkLst>
        </pc:spChg>
        <pc:graphicFrameChg chg="mod">
          <ac:chgData name="Lars Bockman" userId="5a235df0-e381-4c4c-99ce-24b4b21fb9d1" providerId="ADAL" clId="{EDABE23E-248D-4ED0-A77F-ADFCEC09D289}" dt="2024-05-27T10:30:40.064" v="28"/>
          <ac:graphicFrameMkLst>
            <pc:docMk/>
            <pc:sldMk cId="3149972175" sldId="261"/>
            <ac:graphicFrameMk id="5" creationId="{9E8B56EC-7292-D1FD-439F-B85706CC2184}"/>
          </ac:graphicFrameMkLst>
        </pc:graphicFrameChg>
      </pc:sldChg>
      <pc:sldChg chg="addSp modSp mod">
        <pc:chgData name="Lars Bockman" userId="5a235df0-e381-4c4c-99ce-24b4b21fb9d1" providerId="ADAL" clId="{EDABE23E-248D-4ED0-A77F-ADFCEC09D289}" dt="2024-06-04T07:31:53.165" v="7604" actId="20577"/>
        <pc:sldMkLst>
          <pc:docMk/>
          <pc:sldMk cId="362544367" sldId="264"/>
        </pc:sldMkLst>
        <pc:graphicFrameChg chg="modGraphic">
          <ac:chgData name="Lars Bockman" userId="5a235df0-e381-4c4c-99ce-24b4b21fb9d1" providerId="ADAL" clId="{EDABE23E-248D-4ED0-A77F-ADFCEC09D289}" dt="2024-06-04T07:31:53.165" v="7604" actId="20577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mod modGraphic">
          <ac:chgData name="Lars Bockman" userId="5a235df0-e381-4c4c-99ce-24b4b21fb9d1" providerId="ADAL" clId="{EDABE23E-248D-4ED0-A77F-ADFCEC09D289}" dt="2024-06-04T07:28:35.035" v="7396" actId="12385"/>
          <ac:graphicFrameMkLst>
            <pc:docMk/>
            <pc:sldMk cId="362544367" sldId="264"/>
            <ac:graphicFrameMk id="10" creationId="{17380921-DCD0-F301-C201-2C759E302F6F}"/>
          </ac:graphicFrameMkLst>
        </pc:graphicFrameChg>
      </pc:sldChg>
      <pc:sldChg chg="addSp delSp modSp mod">
        <pc:chgData name="Lars Bockman" userId="5a235df0-e381-4c4c-99ce-24b4b21fb9d1" providerId="ADAL" clId="{EDABE23E-248D-4ED0-A77F-ADFCEC09D289}" dt="2024-06-03T08:52:24.354" v="7050" actId="20577"/>
        <pc:sldMkLst>
          <pc:docMk/>
          <pc:sldMk cId="3809428704" sldId="268"/>
        </pc:sldMkLst>
        <pc:spChg chg="del mod">
          <ac:chgData name="Lars Bockman" userId="5a235df0-e381-4c4c-99ce-24b4b21fb9d1" providerId="ADAL" clId="{EDABE23E-248D-4ED0-A77F-ADFCEC09D289}" dt="2024-05-27T11:13:02.284" v="5274"/>
          <ac:spMkLst>
            <pc:docMk/>
            <pc:sldMk cId="3809428704" sldId="268"/>
            <ac:spMk id="2" creationId="{66C22A9D-07FF-93EC-D1C3-082D18FF3201}"/>
          </ac:spMkLst>
        </pc:spChg>
        <pc:spChg chg="mod">
          <ac:chgData name="Lars Bockman" userId="5a235df0-e381-4c4c-99ce-24b4b21fb9d1" providerId="ADAL" clId="{EDABE23E-248D-4ED0-A77F-ADFCEC09D289}" dt="2024-06-03T08:52:24.354" v="7050" actId="20577"/>
          <ac:spMkLst>
            <pc:docMk/>
            <pc:sldMk cId="3809428704" sldId="268"/>
            <ac:spMk id="3" creationId="{8A3EFEB1-D7F7-A46E-7DED-AE462CEAB1A0}"/>
          </ac:spMkLst>
        </pc:spChg>
        <pc:spChg chg="add mod">
          <ac:chgData name="Lars Bockman" userId="5a235df0-e381-4c4c-99ce-24b4b21fb9d1" providerId="ADAL" clId="{EDABE23E-248D-4ED0-A77F-ADFCEC09D289}" dt="2024-06-03T08:50:51.461" v="6851" actId="20577"/>
          <ac:spMkLst>
            <pc:docMk/>
            <pc:sldMk cId="3809428704" sldId="268"/>
            <ac:spMk id="4" creationId="{EDE8794F-575C-3BB7-2A52-BE419AB5A1C1}"/>
          </ac:spMkLst>
        </pc:spChg>
      </pc:sldChg>
      <pc:sldChg chg="addSp delSp modSp mod">
        <pc:chgData name="Lars Bockman" userId="5a235df0-e381-4c4c-99ce-24b4b21fb9d1" providerId="ADAL" clId="{EDABE23E-248D-4ED0-A77F-ADFCEC09D289}" dt="2024-06-04T08:07:25.200" v="8913" actId="20577"/>
        <pc:sldMkLst>
          <pc:docMk/>
          <pc:sldMk cId="964345901" sldId="269"/>
        </pc:sldMkLst>
        <pc:spChg chg="add del mod modVis">
          <ac:chgData name="Lars Bockman" userId="5a235df0-e381-4c4c-99ce-24b4b21fb9d1" providerId="ADAL" clId="{EDABE23E-248D-4ED0-A77F-ADFCEC09D289}" dt="2024-06-04T08:04:16.044" v="8445"/>
          <ac:spMkLst>
            <pc:docMk/>
            <pc:sldMk cId="964345901" sldId="269"/>
            <ac:spMk id="6" creationId="{E4AA122A-1ADB-ACE3-C0A0-8B0E2DB811EC}"/>
          </ac:spMkLst>
        </pc:spChg>
        <pc:spChg chg="add del mod modVis">
          <ac:chgData name="Lars Bockman" userId="5a235df0-e381-4c4c-99ce-24b4b21fb9d1" providerId="ADAL" clId="{EDABE23E-248D-4ED0-A77F-ADFCEC09D289}" dt="2024-06-04T08:04:17.274" v="8475"/>
          <ac:spMkLst>
            <pc:docMk/>
            <pc:sldMk cId="964345901" sldId="269"/>
            <ac:spMk id="8" creationId="{7921233E-1745-27F3-EB66-8AB9AADBF919}"/>
          </ac:spMkLst>
        </pc:spChg>
        <pc:spChg chg="mod">
          <ac:chgData name="Lars Bockman" userId="5a235df0-e381-4c4c-99ce-24b4b21fb9d1" providerId="ADAL" clId="{EDABE23E-248D-4ED0-A77F-ADFCEC09D289}" dt="2024-06-04T08:04:17.259" v="8452" actId="948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Bockman" userId="5a235df0-e381-4c4c-99ce-24b4b21fb9d1" providerId="ADAL" clId="{EDABE23E-248D-4ED0-A77F-ADFCEC09D289}" dt="2024-06-04T08:07:25.200" v="8913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Bockman" userId="5a235df0-e381-4c4c-99ce-24b4b21fb9d1" providerId="ADAL" clId="{EDABE23E-248D-4ED0-A77F-ADFCEC09D289}" dt="2024-06-04T08:04:17.274" v="8477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Bockman" userId="5a235df0-e381-4c4c-99ce-24b4b21fb9d1" providerId="ADAL" clId="{EDABE23E-248D-4ED0-A77F-ADFCEC09D289}" dt="2024-05-31T13:42:45.017" v="5357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Bockman" userId="5a235df0-e381-4c4c-99ce-24b4b21fb9d1" providerId="ADAL" clId="{EDABE23E-248D-4ED0-A77F-ADFCEC09D289}" dt="2024-06-04T07:25:30.392" v="7391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Bockman" userId="5a235df0-e381-4c4c-99ce-24b4b21fb9d1" providerId="ADAL" clId="{EDABE23E-248D-4ED0-A77F-ADFCEC09D289}" dt="2024-05-31T13:42:52.147" v="5359" actId="14826"/>
          <ac:picMkLst>
            <pc:docMk/>
            <pc:sldMk cId="964345901" sldId="269"/>
            <ac:picMk id="19" creationId="{48D81E10-A362-0BE0-5A29-09482A073F28}"/>
          </ac:picMkLst>
        </pc:picChg>
      </pc:sldChg>
      <pc:sldChg chg="addSp delSp modSp mod">
        <pc:chgData name="Lars Bockman" userId="5a235df0-e381-4c4c-99ce-24b4b21fb9d1" providerId="ADAL" clId="{EDABE23E-248D-4ED0-A77F-ADFCEC09D289}" dt="2024-06-04T08:10:24.938" v="9202"/>
        <pc:sldMkLst>
          <pc:docMk/>
          <pc:sldMk cId="4275014000" sldId="270"/>
        </pc:sldMkLst>
        <pc:spChg chg="add del mod modVis">
          <ac:chgData name="Lars Bockman" userId="5a235df0-e381-4c4c-99ce-24b4b21fb9d1" providerId="ADAL" clId="{EDABE23E-248D-4ED0-A77F-ADFCEC09D289}" dt="2024-06-04T08:10:24.932" v="9200"/>
          <ac:spMkLst>
            <pc:docMk/>
            <pc:sldMk cId="4275014000" sldId="270"/>
            <ac:spMk id="8" creationId="{2000083C-67F4-2F8F-C863-6489F3042630}"/>
          </ac:spMkLst>
        </pc:spChg>
        <pc:spChg chg="mod">
          <ac:chgData name="Lars Bockman" userId="5a235df0-e381-4c4c-99ce-24b4b21fb9d1" providerId="ADAL" clId="{EDABE23E-248D-4ED0-A77F-ADFCEC09D289}" dt="2024-06-04T08:10:24.904" v="9177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Bockman" userId="5a235df0-e381-4c4c-99ce-24b4b21fb9d1" providerId="ADAL" clId="{EDABE23E-248D-4ED0-A77F-ADFCEC09D289}" dt="2024-06-04T08:08:42.084" v="9173" actId="1076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Bockman" userId="5a235df0-e381-4c4c-99ce-24b4b21fb9d1" providerId="ADAL" clId="{EDABE23E-248D-4ED0-A77F-ADFCEC09D289}" dt="2024-06-04T08:10:24.938" v="9202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Bockman" userId="5a235df0-e381-4c4c-99ce-24b4b21fb9d1" providerId="ADAL" clId="{EDABE23E-248D-4ED0-A77F-ADFCEC09D289}" dt="2024-05-31T13:42:58.616" v="5360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Bockman" userId="5a235df0-e381-4c4c-99ce-24b4b21fb9d1" providerId="ADAL" clId="{EDABE23E-248D-4ED0-A77F-ADFCEC09D289}" dt="2024-06-04T07:49:30.126" v="8049" actId="14826"/>
          <ac:picMkLst>
            <pc:docMk/>
            <pc:sldMk cId="4275014000" sldId="270"/>
            <ac:picMk id="5" creationId="{1FC70556-B41D-FA15-EDBD-21B7105AEC8B}"/>
          </ac:picMkLst>
        </pc:picChg>
        <pc:picChg chg="mod">
          <ac:chgData name="Lars Bockman" userId="5a235df0-e381-4c4c-99ce-24b4b21fb9d1" providerId="ADAL" clId="{EDABE23E-248D-4ED0-A77F-ADFCEC09D289}" dt="2024-05-31T13:43:03.202" v="5361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Bockman" userId="5a235df0-e381-4c4c-99ce-24b4b21fb9d1" providerId="ADAL" clId="{EDABE23E-248D-4ED0-A77F-ADFCEC09D289}" dt="2024-06-04T07:39:26.273" v="8046" actId="20577"/>
        <pc:sldMkLst>
          <pc:docMk/>
          <pc:sldMk cId="4169780862" sldId="274"/>
        </pc:sldMkLst>
        <pc:graphicFrameChg chg="modGraphic">
          <ac:chgData name="Lars Bockman" userId="5a235df0-e381-4c4c-99ce-24b4b21fb9d1" providerId="ADAL" clId="{EDABE23E-248D-4ED0-A77F-ADFCEC09D289}" dt="2024-06-04T07:37:16.945" v="7924" actId="20577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modGraphic">
          <ac:chgData name="Lars Bockman" userId="5a235df0-e381-4c4c-99ce-24b4b21fb9d1" providerId="ADAL" clId="{EDABE23E-248D-4ED0-A77F-ADFCEC09D289}" dt="2024-06-04T07:39:26.273" v="8046" actId="20577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modGraphic">
          <ac:chgData name="Lars Bockman" userId="5a235df0-e381-4c4c-99ce-24b4b21fb9d1" providerId="ADAL" clId="{EDABE23E-248D-4ED0-A77F-ADFCEC09D289}" dt="2024-06-04T07:34:17.021" v="7767" actId="20577"/>
          <ac:graphicFrameMkLst>
            <pc:docMk/>
            <pc:sldMk cId="4169780862" sldId="274"/>
            <ac:graphicFrameMk id="8" creationId="{9D907BB4-9F15-FD3A-91D5-E60990E33FBE}"/>
          </ac:graphicFrameMkLst>
        </pc:graphicFrameChg>
      </pc:sldChg>
      <pc:sldChg chg="modSp mod">
        <pc:chgData name="Lars Bockman" userId="5a235df0-e381-4c4c-99ce-24b4b21fb9d1" providerId="ADAL" clId="{EDABE23E-248D-4ED0-A77F-ADFCEC09D289}" dt="2024-06-04T08:02:40.414" v="8190" actId="20577"/>
        <pc:sldMkLst>
          <pc:docMk/>
          <pc:sldMk cId="1400664593" sldId="275"/>
        </pc:sldMkLst>
        <pc:spChg chg="mod">
          <ac:chgData name="Lars Bockman" userId="5a235df0-e381-4c4c-99ce-24b4b21fb9d1" providerId="ADAL" clId="{EDABE23E-248D-4ED0-A77F-ADFCEC09D289}" dt="2024-06-04T08:02:40.414" v="8190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Bockman" userId="5a235df0-e381-4c4c-99ce-24b4b21fb9d1" providerId="ADAL" clId="{EDABE23E-248D-4ED0-A77F-ADFCEC09D289}" dt="2024-05-31T13:43:16.056" v="5362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Bockman" userId="5a235df0-e381-4c4c-99ce-24b4b21fb9d1" providerId="ADAL" clId="{EDABE23E-248D-4ED0-A77F-ADFCEC09D289}" dt="2024-06-04T07:46:56.832" v="8048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Bockman" userId="5a235df0-e381-4c4c-99ce-24b4b21fb9d1" providerId="ADAL" clId="{EDABE23E-248D-4ED0-A77F-ADFCEC09D289}" dt="2024-06-03T08:22:12.574" v="6097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Bockman" userId="5a235df0-e381-4c4c-99ce-24b4b21fb9d1" providerId="ADAL" clId="{EDABE23E-248D-4ED0-A77F-ADFCEC09D289}" dt="2024-06-03T08:22:16.317" v="6099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Bockman" userId="5a235df0-e381-4c4c-99ce-24b4b21fb9d1" providerId="ADAL" clId="{EDABE23E-248D-4ED0-A77F-ADFCEC09D289}" dt="2024-06-03T08:22:06.645" v="6095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Bockman" userId="5a235df0-e381-4c4c-99ce-24b4b21fb9d1" providerId="ADAL" clId="{EDABE23E-248D-4ED0-A77F-ADFCEC09D289}" dt="2024-06-03T08:22:09.461" v="6096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Bockman" userId="5a235df0-e381-4c4c-99ce-24b4b21fb9d1" providerId="ADAL" clId="{EDABE23E-248D-4ED0-A77F-ADFCEC09D289}" dt="2024-06-03T08:22:14.612" v="6098" actId="1076"/>
          <ac:picMkLst>
            <pc:docMk/>
            <pc:sldMk cId="1400664593" sldId="275"/>
            <ac:picMk id="1034" creationId="{93E8EE5C-F00F-9D19-55F8-6D26C9255442}"/>
          </ac:picMkLst>
        </pc:picChg>
      </pc:sldChg>
      <pc:sldChg chg="delSp modSp del mod">
        <pc:chgData name="Lars Bockman" userId="5a235df0-e381-4c4c-99ce-24b4b21fb9d1" providerId="ADAL" clId="{EDABE23E-248D-4ED0-A77F-ADFCEC09D289}" dt="2024-06-04T08:03:38.248" v="8213" actId="47"/>
        <pc:sldMkLst>
          <pc:docMk/>
          <pc:sldMk cId="4123918659" sldId="276"/>
        </pc:sldMkLst>
        <pc:picChg chg="del mod">
          <ac:chgData name="Lars Bockman" userId="5a235df0-e381-4c4c-99ce-24b4b21fb9d1" providerId="ADAL" clId="{EDABE23E-248D-4ED0-A77F-ADFCEC09D289}" dt="2024-06-04T08:03:29.198" v="8210" actId="21"/>
          <ac:picMkLst>
            <pc:docMk/>
            <pc:sldMk cId="4123918659" sldId="276"/>
            <ac:picMk id="6" creationId="{E74EA589-72EA-AA47-0E44-BCAE8A4D908E}"/>
          </ac:picMkLst>
        </pc:picChg>
      </pc:sldChg>
      <pc:sldChg chg="addSp delSp modSp add mod ord">
        <pc:chgData name="Lars Bockman" userId="5a235df0-e381-4c4c-99ce-24b4b21fb9d1" providerId="ADAL" clId="{EDABE23E-248D-4ED0-A77F-ADFCEC09D289}" dt="2024-06-04T08:04:10.760" v="8414"/>
        <pc:sldMkLst>
          <pc:docMk/>
          <pc:sldMk cId="3048309862" sldId="277"/>
        </pc:sldMkLst>
        <pc:spChg chg="del">
          <ac:chgData name="Lars Bockman" userId="5a235df0-e381-4c4c-99ce-24b4b21fb9d1" providerId="ADAL" clId="{EDABE23E-248D-4ED0-A77F-ADFCEC09D289}" dt="2024-06-04T08:03:16.241" v="8194" actId="478"/>
          <ac:spMkLst>
            <pc:docMk/>
            <pc:sldMk cId="3048309862" sldId="277"/>
            <ac:spMk id="4" creationId="{BF121519-CDDC-1962-9CD6-6AAC2E69BFCB}"/>
          </ac:spMkLst>
        </pc:spChg>
        <pc:spChg chg="add del mod">
          <ac:chgData name="Lars Bockman" userId="5a235df0-e381-4c4c-99ce-24b4b21fb9d1" providerId="ADAL" clId="{EDABE23E-248D-4ED0-A77F-ADFCEC09D289}" dt="2024-06-04T08:03:24.030" v="8203" actId="478"/>
          <ac:spMkLst>
            <pc:docMk/>
            <pc:sldMk cId="3048309862" sldId="277"/>
            <ac:spMk id="6" creationId="{9EFE1326-0E46-4902-AC0A-89A919C1B2B9}"/>
          </ac:spMkLst>
        </pc:spChg>
        <pc:spChg chg="add del mod">
          <ac:chgData name="Lars Bockman" userId="5a235df0-e381-4c4c-99ce-24b4b21fb9d1" providerId="ADAL" clId="{EDABE23E-248D-4ED0-A77F-ADFCEC09D289}" dt="2024-06-04T08:03:25.155" v="8208" actId="478"/>
          <ac:spMkLst>
            <pc:docMk/>
            <pc:sldMk cId="3048309862" sldId="277"/>
            <ac:spMk id="8" creationId="{CA84B9E3-16A7-8048-E96C-0D723C602883}"/>
          </ac:spMkLst>
        </pc:spChg>
        <pc:spChg chg="del">
          <ac:chgData name="Lars Bockman" userId="5a235df0-e381-4c4c-99ce-24b4b21fb9d1" providerId="ADAL" clId="{EDABE23E-248D-4ED0-A77F-ADFCEC09D289}" dt="2024-06-04T08:03:22.665" v="8202" actId="478"/>
          <ac:spMkLst>
            <pc:docMk/>
            <pc:sldMk cId="3048309862" sldId="277"/>
            <ac:spMk id="13" creationId="{D3816D81-2F0C-5C31-0215-8B391B6646ED}"/>
          </ac:spMkLst>
        </pc:spChg>
        <pc:spChg chg="add del mod">
          <ac:chgData name="Lars Bockman" userId="5a235df0-e381-4c4c-99ce-24b4b21fb9d1" providerId="ADAL" clId="{EDABE23E-248D-4ED0-A77F-ADFCEC09D289}" dt="2024-06-04T08:03:20.307" v="8201" actId="478"/>
          <ac:spMkLst>
            <pc:docMk/>
            <pc:sldMk cId="3048309862" sldId="277"/>
            <ac:spMk id="14" creationId="{8AF43122-087E-9C87-97EB-DB4E2CD964EA}"/>
          </ac:spMkLst>
        </pc:spChg>
        <pc:spChg chg="add mod">
          <ac:chgData name="Lars Bockman" userId="5a235df0-e381-4c4c-99ce-24b4b21fb9d1" providerId="ADAL" clId="{EDABE23E-248D-4ED0-A77F-ADFCEC09D289}" dt="2024-06-04T08:04:10.744" v="8389" actId="948"/>
          <ac:spMkLst>
            <pc:docMk/>
            <pc:sldMk cId="3048309862" sldId="277"/>
            <ac:spMk id="16" creationId="{05F1EE16-5CB9-787E-C19C-5D8FCB48A64F}"/>
          </ac:spMkLst>
        </pc:spChg>
        <pc:spChg chg="add del mod modVis">
          <ac:chgData name="Lars Bockman" userId="5a235df0-e381-4c4c-99ce-24b4b21fb9d1" providerId="ADAL" clId="{EDABE23E-248D-4ED0-A77F-ADFCEC09D289}" dt="2024-06-04T08:03:58.707" v="8240"/>
          <ac:spMkLst>
            <pc:docMk/>
            <pc:sldMk cId="3048309862" sldId="277"/>
            <ac:spMk id="17" creationId="{1B40BD5E-91AC-0917-8991-9E4409B430A2}"/>
          </ac:spMkLst>
        </pc:spChg>
        <pc:spChg chg="add del mod modVis">
          <ac:chgData name="Lars Bockman" userId="5a235df0-e381-4c4c-99ce-24b4b21fb9d1" providerId="ADAL" clId="{EDABE23E-248D-4ED0-A77F-ADFCEC09D289}" dt="2024-06-04T08:04:01.082" v="8269"/>
          <ac:spMkLst>
            <pc:docMk/>
            <pc:sldMk cId="3048309862" sldId="277"/>
            <ac:spMk id="18" creationId="{C14F9704-952E-B412-D901-F625E0D1D6DD}"/>
          </ac:spMkLst>
        </pc:spChg>
        <pc:spChg chg="add del mod modVis">
          <ac:chgData name="Lars Bockman" userId="5a235df0-e381-4c4c-99ce-24b4b21fb9d1" providerId="ADAL" clId="{EDABE23E-248D-4ED0-A77F-ADFCEC09D289}" dt="2024-06-04T08:04:04.076" v="8307"/>
          <ac:spMkLst>
            <pc:docMk/>
            <pc:sldMk cId="3048309862" sldId="277"/>
            <ac:spMk id="19" creationId="{4DE6D07C-FBDF-6E3F-462B-4F748A57B11B}"/>
          </ac:spMkLst>
        </pc:spChg>
        <pc:spChg chg="add del mod modVis">
          <ac:chgData name="Lars Bockman" userId="5a235df0-e381-4c4c-99ce-24b4b21fb9d1" providerId="ADAL" clId="{EDABE23E-248D-4ED0-A77F-ADFCEC09D289}" dt="2024-06-04T08:04:06.938" v="8347"/>
          <ac:spMkLst>
            <pc:docMk/>
            <pc:sldMk cId="3048309862" sldId="277"/>
            <ac:spMk id="20" creationId="{3F187B90-92B8-A474-347E-CC35E538ABBC}"/>
          </ac:spMkLst>
        </pc:spChg>
        <pc:spChg chg="add del mod modVis">
          <ac:chgData name="Lars Bockman" userId="5a235df0-e381-4c4c-99ce-24b4b21fb9d1" providerId="ADAL" clId="{EDABE23E-248D-4ED0-A77F-ADFCEC09D289}" dt="2024-06-04T08:04:08.807" v="8385"/>
          <ac:spMkLst>
            <pc:docMk/>
            <pc:sldMk cId="3048309862" sldId="277"/>
            <ac:spMk id="21" creationId="{B5AF90B0-73EE-53C6-EFB5-29A9436B05B2}"/>
          </ac:spMkLst>
        </pc:spChg>
        <pc:spChg chg="add del mod modVis">
          <ac:chgData name="Lars Bockman" userId="5a235df0-e381-4c4c-99ce-24b4b21fb9d1" providerId="ADAL" clId="{EDABE23E-248D-4ED0-A77F-ADFCEC09D289}" dt="2024-06-04T08:04:10.760" v="8412"/>
          <ac:spMkLst>
            <pc:docMk/>
            <pc:sldMk cId="3048309862" sldId="277"/>
            <ac:spMk id="22" creationId="{159174E2-80B3-3A4D-E917-76B7FCFB35EB}"/>
          </ac:spMkLst>
        </pc:spChg>
        <pc:graphicFrameChg chg="mod">
          <ac:chgData name="Lars Bockman" userId="5a235df0-e381-4c4c-99ce-24b4b21fb9d1" providerId="ADAL" clId="{EDABE23E-248D-4ED0-A77F-ADFCEC09D289}" dt="2024-06-04T08:04:10.760" v="8414"/>
          <ac:graphicFrameMkLst>
            <pc:docMk/>
            <pc:sldMk cId="3048309862" sldId="277"/>
            <ac:graphicFrameMk id="9" creationId="{8E601A1A-2629-9E12-9DFE-9BDAC856ED65}"/>
          </ac:graphicFrameMkLst>
        </pc:graphicFrameChg>
        <pc:picChg chg="del">
          <ac:chgData name="Lars Bockman" userId="5a235df0-e381-4c4c-99ce-24b4b21fb9d1" providerId="ADAL" clId="{EDABE23E-248D-4ED0-A77F-ADFCEC09D289}" dt="2024-06-04T08:03:17.745" v="8199" actId="478"/>
          <ac:picMkLst>
            <pc:docMk/>
            <pc:sldMk cId="3048309862" sldId="277"/>
            <ac:picMk id="10" creationId="{EDD2A1DB-03B4-A540-E2CF-68A1C96AF138}"/>
          </ac:picMkLst>
        </pc:picChg>
        <pc:picChg chg="del">
          <ac:chgData name="Lars Bockman" userId="5a235df0-e381-4c4c-99ce-24b4b21fb9d1" providerId="ADAL" clId="{EDABE23E-248D-4ED0-A77F-ADFCEC09D289}" dt="2024-06-04T08:03:18.393" v="8200" actId="478"/>
          <ac:picMkLst>
            <pc:docMk/>
            <pc:sldMk cId="3048309862" sldId="277"/>
            <ac:picMk id="12" creationId="{475A88D7-D294-62B2-8755-82110AB84DD1}"/>
          </ac:picMkLst>
        </pc:picChg>
        <pc:picChg chg="add mod">
          <ac:chgData name="Lars Bockman" userId="5a235df0-e381-4c4c-99ce-24b4b21fb9d1" providerId="ADAL" clId="{EDABE23E-248D-4ED0-A77F-ADFCEC09D289}" dt="2024-06-04T08:03:41.678" v="8214" actId="14100"/>
          <ac:picMkLst>
            <pc:docMk/>
            <pc:sldMk cId="3048309862" sldId="277"/>
            <ac:picMk id="15" creationId="{E74EA589-72EA-AA47-0E44-BCAE8A4D908E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26" creationId="{A3000F04-E780-98BA-A9F5-FBB1AD330F20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28" creationId="{7BD95610-1C21-5E69-CD9D-A797BAA38B11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30" creationId="{ACF3AF7C-A2DE-81CC-E858-516CB40827CE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32" creationId="{8EF0B950-C72C-D5A3-948A-06A2609A5B96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34" creationId="{93E8EE5C-F00F-9D19-55F8-6D26C9255442}"/>
          </ac:picMkLst>
        </pc:picChg>
      </pc:sldChg>
    </pc:docChg>
  </pc:docChgLst>
  <pc:docChgLst>
    <pc:chgData name="Iselin Ekeli Rønningsbakk" userId="187300ae-9cb6-416d-8a94-664ca977a24d" providerId="ADAL" clId="{A982F088-28B0-44E7-A540-057AB14E26F1}"/>
    <pc:docChg chg="">
      <pc:chgData name="Iselin Ekeli Rønningsbakk" userId="187300ae-9cb6-416d-8a94-664ca977a24d" providerId="ADAL" clId="{A982F088-28B0-44E7-A540-057AB14E26F1}" dt="2024-05-13T09:04:11.853" v="0"/>
      <pc:docMkLst>
        <pc:docMk/>
      </pc:docMkLst>
    </pc:docChg>
  </pc:docChgLst>
  <pc:docChgLst>
    <pc:chgData name="Lars Bockman" userId="5a235df0-e381-4c4c-99ce-24b4b21fb9d1" providerId="ADAL" clId="{C0B6E7DC-0448-43D1-82B8-227DAF8C55E9}"/>
    <pc:docChg chg="modSld">
      <pc:chgData name="Lars Bockman" userId="5a235df0-e381-4c4c-99ce-24b4b21fb9d1" providerId="ADAL" clId="{C0B6E7DC-0448-43D1-82B8-227DAF8C55E9}" dt="2024-06-10T10:33:27.210" v="38" actId="20577"/>
      <pc:docMkLst>
        <pc:docMk/>
      </pc:docMkLst>
      <pc:sldChg chg="modSp mod modCm">
        <pc:chgData name="Lars Bockman" userId="5a235df0-e381-4c4c-99ce-24b4b21fb9d1" providerId="ADAL" clId="{C0B6E7DC-0448-43D1-82B8-227DAF8C55E9}" dt="2024-06-10T10:33:05.080" v="15" actId="20577"/>
        <pc:sldMkLst>
          <pc:docMk/>
          <pc:sldMk cId="3149972175" sldId="261"/>
        </pc:sldMkLst>
        <pc:spChg chg="mod">
          <ac:chgData name="Lars Bockman" userId="5a235df0-e381-4c4c-99ce-24b4b21fb9d1" providerId="ADAL" clId="{C0B6E7DC-0448-43D1-82B8-227DAF8C55E9}" dt="2024-06-10T10:33:05.080" v="15" actId="20577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Bockman" userId="5a235df0-e381-4c4c-99ce-24b4b21fb9d1" providerId="ADAL" clId="{C0B6E7DC-0448-43D1-82B8-227DAF8C55E9}" dt="2024-06-10T10:33:05.080" v="15" actId="20577"/>
              <pc2:cmMkLst xmlns:pc2="http://schemas.microsoft.com/office/powerpoint/2019/9/main/command">
                <pc:docMk/>
                <pc:sldMk cId="3149972175" sldId="261"/>
                <pc2:cmMk id="{51660911-9400-4D07-87BC-5C8D4AD87B73}"/>
              </pc2:cmMkLst>
            </pc226:cmChg>
            <pc226:cmChg xmlns:pc226="http://schemas.microsoft.com/office/powerpoint/2022/06/main/command" chg="mod">
              <pc226:chgData name="Lars Bockman" userId="5a235df0-e381-4c4c-99ce-24b4b21fb9d1" providerId="ADAL" clId="{C0B6E7DC-0448-43D1-82B8-227DAF8C55E9}" dt="2024-06-10T10:33:05.080" v="15" actId="20577"/>
              <pc2:cmMkLst xmlns:pc2="http://schemas.microsoft.com/office/powerpoint/2019/9/main/command">
                <pc:docMk/>
                <pc:sldMk cId="3149972175" sldId="261"/>
                <pc2:cmMk id="{C000B65C-00D6-4C4A-881C-8CE6373A5721}"/>
              </pc2:cmMkLst>
            </pc226:cmChg>
          </p:ext>
        </pc:extLst>
      </pc:sldChg>
      <pc:sldChg chg="modSp mod">
        <pc:chgData name="Lars Bockman" userId="5a235df0-e381-4c4c-99ce-24b4b21fb9d1" providerId="ADAL" clId="{C0B6E7DC-0448-43D1-82B8-227DAF8C55E9}" dt="2024-06-10T10:33:27.210" v="38" actId="20577"/>
        <pc:sldMkLst>
          <pc:docMk/>
          <pc:sldMk cId="964345901" sldId="269"/>
        </pc:sldMkLst>
        <pc:spChg chg="mod">
          <ac:chgData name="Lars Bockman" userId="5a235df0-e381-4c4c-99ce-24b4b21fb9d1" providerId="ADAL" clId="{C0B6E7DC-0448-43D1-82B8-227DAF8C55E9}" dt="2024-06-10T10:33:27.210" v="38" actId="20577"/>
          <ac:spMkLst>
            <pc:docMk/>
            <pc:sldMk cId="964345901" sldId="269"/>
            <ac:spMk id="15" creationId="{04DCDA78-71F1-811A-A7B3-AF6C80100E58}"/>
          </ac:spMkLst>
        </pc:spChg>
      </pc:sldChg>
      <pc:sldChg chg="modSp mod">
        <pc:chgData name="Lars Bockman" userId="5a235df0-e381-4c4c-99ce-24b4b21fb9d1" providerId="ADAL" clId="{C0B6E7DC-0448-43D1-82B8-227DAF8C55E9}" dt="2024-06-10T08:42:51.664" v="3" actId="20577"/>
        <pc:sldMkLst>
          <pc:docMk/>
          <pc:sldMk cId="1400664593" sldId="275"/>
        </pc:sldMkLst>
        <pc:spChg chg="mod">
          <ac:chgData name="Lars Bockman" userId="5a235df0-e381-4c4c-99ce-24b4b21fb9d1" providerId="ADAL" clId="{C0B6E7DC-0448-43D1-82B8-227DAF8C55E9}" dt="2024-06-10T08:42:51.664" v="3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Iselin Ekeli Rønningsbakk" userId="187300ae-9cb6-416d-8a94-664ca977a24d" providerId="ADAL" clId="{A1986C05-77AD-4C81-B532-0C47688F9970}"/>
    <pc:docChg chg="undo custSel addSld delSld modSld">
      <pc:chgData name="Iselin Ekeli Rønningsbakk" userId="187300ae-9cb6-416d-8a94-664ca977a24d" providerId="ADAL" clId="{A1986C05-77AD-4C81-B532-0C47688F9970}" dt="2024-09-10T14:13:09.831" v="2511" actId="14826"/>
      <pc:docMkLst>
        <pc:docMk/>
      </pc:docMkLst>
      <pc:sldChg chg="modSp mod">
        <pc:chgData name="Iselin Ekeli Rønningsbakk" userId="187300ae-9cb6-416d-8a94-664ca977a24d" providerId="ADAL" clId="{A1986C05-77AD-4C81-B532-0C47688F9970}" dt="2024-09-10T13:06:14.787" v="2508" actId="6549"/>
        <pc:sldMkLst>
          <pc:docMk/>
          <pc:sldMk cId="4148148830" sldId="259"/>
        </pc:sldMkLst>
        <pc:spChg chg="mod">
          <ac:chgData name="Iselin Ekeli Rønningsbakk" userId="187300ae-9cb6-416d-8a94-664ca977a24d" providerId="ADAL" clId="{A1986C05-77AD-4C81-B532-0C47688F9970}" dt="2024-09-10T13:06:14.787" v="2508" actId="6549"/>
          <ac:spMkLst>
            <pc:docMk/>
            <pc:sldMk cId="4148148830" sldId="259"/>
            <ac:spMk id="4" creationId="{02B670F3-F503-EDCF-4447-49EB9200B55E}"/>
          </ac:spMkLst>
        </pc:spChg>
      </pc:sldChg>
      <pc:sldChg chg="add del setBg">
        <pc:chgData name="Iselin Ekeli Rønningsbakk" userId="187300ae-9cb6-416d-8a94-664ca977a24d" providerId="ADAL" clId="{A1986C05-77AD-4C81-B532-0C47688F9970}" dt="2024-09-10T14:12:34.901" v="2510"/>
        <pc:sldMkLst>
          <pc:docMk/>
          <pc:sldMk cId="1380827816" sldId="262"/>
        </pc:sldMkLst>
      </pc:sldChg>
      <pc:sldChg chg="modSp mod modCm">
        <pc:chgData name="Iselin Ekeli Rønningsbakk" userId="187300ae-9cb6-416d-8a94-664ca977a24d" providerId="ADAL" clId="{A1986C05-77AD-4C81-B532-0C47688F9970}" dt="2024-09-10T13:04:35.014" v="2361" actId="255"/>
        <pc:sldMkLst>
          <pc:docMk/>
          <pc:sldMk cId="3809428704" sldId="268"/>
        </pc:sldMkLst>
        <pc:spChg chg="mod">
          <ac:chgData name="Iselin Ekeli Rønningsbakk" userId="187300ae-9cb6-416d-8a94-664ca977a24d" providerId="ADAL" clId="{A1986C05-77AD-4C81-B532-0C47688F9970}" dt="2024-09-10T13:04:35.014" v="2361" actId="255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Iselin Ekeli Rønningsbakk" userId="187300ae-9cb6-416d-8a94-664ca977a24d" providerId="ADAL" clId="{A1986C05-77AD-4C81-B532-0C47688F9970}" dt="2024-09-10T12:50:19.590" v="1691" actId="6549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Iselin Ekeli Rønningsbakk" userId="187300ae-9cb6-416d-8a94-664ca977a24d" providerId="ADAL" clId="{A1986C05-77AD-4C81-B532-0C47688F9970}" dt="2024-09-10T12:57:50.715" v="1830" actId="6549"/>
          <ac:spMkLst>
            <pc:docMk/>
            <pc:sldMk cId="3809428704" sldId="268"/>
            <ac:spMk id="4" creationId="{BE7CE246-E4ED-6235-23CC-FAC201DE393A}"/>
          </ac:spMkLst>
        </pc:spChg>
        <pc:spChg chg="mod">
          <ac:chgData name="Iselin Ekeli Rønningsbakk" userId="187300ae-9cb6-416d-8a94-664ca977a24d" providerId="ADAL" clId="{A1986C05-77AD-4C81-B532-0C47688F9970}" dt="2024-09-10T12:47:17.943" v="1449" actId="6549"/>
          <ac:spMkLst>
            <pc:docMk/>
            <pc:sldMk cId="3809428704" sldId="268"/>
            <ac:spMk id="27" creationId="{D4479EF9-3012-3964-A9D0-6C16A3C0510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A1986C05-77AD-4C81-B532-0C47688F9970}" dt="2024-09-10T13:04:15.987" v="2360" actId="6549"/>
              <pc2:cmMkLst xmlns:pc2="http://schemas.microsoft.com/office/powerpoint/2019/9/main/command">
                <pc:docMk/>
                <pc:sldMk cId="3809428704" sldId="268"/>
                <pc2:cmMk id="{1B14C4AE-585E-44BD-92D7-68A814F4B6F7}"/>
              </pc2:cmMkLst>
            </pc226:cmChg>
          </p:ext>
        </pc:extLst>
      </pc:sldChg>
      <pc:sldChg chg="modSp mod">
        <pc:chgData name="Iselin Ekeli Rønningsbakk" userId="187300ae-9cb6-416d-8a94-664ca977a24d" providerId="ADAL" clId="{A1986C05-77AD-4C81-B532-0C47688F9970}" dt="2024-09-10T11:38:08.297" v="1421" actId="1076"/>
        <pc:sldMkLst>
          <pc:docMk/>
          <pc:sldMk cId="4275014000" sldId="270"/>
        </pc:sldMkLst>
        <pc:spChg chg="mod">
          <ac:chgData name="Iselin Ekeli Rønningsbakk" userId="187300ae-9cb6-416d-8a94-664ca977a24d" providerId="ADAL" clId="{A1986C05-77AD-4C81-B532-0C47688F9970}" dt="2024-09-10T11:38:08.297" v="1421" actId="1076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8074962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r">
              <a:defRPr sz="1800"/>
            </a:lvl1pPr>
          </a:lstStyle>
          <a:p>
            <a:fld id="{01329E2F-4686-4F18-A9A7-D08BDCF84B80}" type="datetimeFigureOut">
              <a:rPr lang="nb-NO" smtClean="0"/>
              <a:t>04.10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76713" y="1222375"/>
            <a:ext cx="59023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3795" tIns="66898" rIns="133795" bIns="6689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1425576" y="4703851"/>
            <a:ext cx="11404599" cy="3848607"/>
          </a:xfrm>
          <a:prstGeom prst="rect">
            <a:avLst/>
          </a:prstGeom>
        </p:spPr>
        <p:txBody>
          <a:bodyPr vert="horz" lIns="133795" tIns="66898" rIns="133795" bIns="6689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8074962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r">
              <a:defRPr sz="1800"/>
            </a:lvl1pPr>
          </a:lstStyle>
          <a:p>
            <a:fld id="{988FB815-4B74-45D9-A47D-33C36308A6D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752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543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370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3A1E326-C424-77C0-6978-2ECBD0AFF397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1FB3283B-FF68-DC05-E013-0F72BC5F0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09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334076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BEE2BB55-7571-3411-2E34-E5B91C6BF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2702" r="19833" b="8048"/>
          <a:stretch/>
        </p:blipFill>
        <p:spPr>
          <a:xfrm>
            <a:off x="275326" y="0"/>
            <a:ext cx="8868674" cy="5111750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69396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E727192-E739-041D-CB81-5E90EF320E51}"/>
              </a:ext>
            </a:extLst>
          </p:cNvPr>
          <p:cNvSpPr/>
          <p:nvPr userDrawn="1"/>
        </p:nvSpPr>
        <p:spPr>
          <a:xfrm>
            <a:off x="0" y="0"/>
            <a:ext cx="4572000" cy="51117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368170"/>
            <a:ext cx="3702960" cy="876266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479617"/>
            <a:ext cx="3702960" cy="1749484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036180" y="2479616"/>
            <a:ext cx="3245759" cy="174948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7031CF78-9F44-2D1C-EB1A-80013EA58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7B5B3D8-2294-84AC-EF16-BE5723C677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6180" y="1368171"/>
            <a:ext cx="3245759" cy="8762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/>
            </a:lvl1pPr>
          </a:lstStyle>
          <a:p>
            <a:pPr lvl="0"/>
            <a:r>
              <a:rPr lang="nb-NO"/>
              <a:t>Klikk for å legge til tittel</a:t>
            </a:r>
          </a:p>
        </p:txBody>
      </p:sp>
    </p:spTree>
    <p:extLst>
      <p:ext uri="{BB962C8B-B14F-4D97-AF65-F5344CB8AC3E}">
        <p14:creationId xmlns:p14="http://schemas.microsoft.com/office/powerpoint/2010/main" val="1402758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183ABFD2-3904-4789-1324-422C036362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2426" y="0"/>
            <a:ext cx="3471575" cy="5111751"/>
          </a:xfrm>
          <a:custGeom>
            <a:avLst/>
            <a:gdLst>
              <a:gd name="connsiteX0" fmla="*/ 907563 w 3471575"/>
              <a:gd name="connsiteY0" fmla="*/ 0 h 5111751"/>
              <a:gd name="connsiteX1" fmla="*/ 3471575 w 3471575"/>
              <a:gd name="connsiteY1" fmla="*/ 0 h 5111751"/>
              <a:gd name="connsiteX2" fmla="*/ 3471575 w 3471575"/>
              <a:gd name="connsiteY2" fmla="*/ 5111751 h 5111751"/>
              <a:gd name="connsiteX3" fmla="*/ 1241407 w 3471575"/>
              <a:gd name="connsiteY3" fmla="*/ 5111751 h 5111751"/>
              <a:gd name="connsiteX4" fmla="*/ 220495 w 3471575"/>
              <a:gd name="connsiteY4" fmla="*/ 2846952 h 5111751"/>
              <a:gd name="connsiteX5" fmla="*/ 501 w 3471575"/>
              <a:gd name="connsiteY5" fmla="*/ 1900596 h 5111751"/>
              <a:gd name="connsiteX6" fmla="*/ 907563 w 3471575"/>
              <a:gd name="connsiteY6" fmla="*/ 0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1575" h="5111751">
                <a:moveTo>
                  <a:pt x="907563" y="0"/>
                </a:moveTo>
                <a:lnTo>
                  <a:pt x="3471575" y="0"/>
                </a:lnTo>
                <a:lnTo>
                  <a:pt x="3471575" y="5111751"/>
                </a:lnTo>
                <a:lnTo>
                  <a:pt x="1241407" y="5111751"/>
                </a:lnTo>
                <a:lnTo>
                  <a:pt x="220495" y="2846952"/>
                </a:lnTo>
                <a:cubicBezTo>
                  <a:pt x="85574" y="2559052"/>
                  <a:pt x="7368" y="2238853"/>
                  <a:pt x="501" y="1900596"/>
                </a:cubicBezTo>
                <a:cubicBezTo>
                  <a:pt x="-15267" y="1129981"/>
                  <a:pt x="342445" y="438844"/>
                  <a:pt x="9075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464976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836B93EF-C490-5A81-6A58-3BD0EC70A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9186" b="62840"/>
          <a:stretch/>
        </p:blipFill>
        <p:spPr>
          <a:xfrm>
            <a:off x="5912587" y="3639012"/>
            <a:ext cx="3231413" cy="101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63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BD4153EE-7C08-07D3-CF05-460E29903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669" t="12701" r="8676" b="15138"/>
          <a:stretch/>
        </p:blipFill>
        <p:spPr>
          <a:xfrm>
            <a:off x="0" y="0"/>
            <a:ext cx="9144000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80F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5563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183325-5D0B-B443-6613-47C611FA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430" t="26336" r="10537"/>
          <a:stretch/>
        </p:blipFill>
        <p:spPr>
          <a:xfrm>
            <a:off x="0" y="0"/>
            <a:ext cx="9144000" cy="3499421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794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5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1428" y="0"/>
            <a:ext cx="4572572" cy="4654492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12">
            <a:extLst>
              <a:ext uri="{FF2B5EF4-FFF2-40B4-BE49-F238E27FC236}">
                <a16:creationId xmlns:a16="http://schemas.microsoft.com/office/drawing/2014/main" id="{00969560-B406-A3F9-3583-A403A675DE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438103" cy="46577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110634"/>
            <a:ext cx="3648018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8" y="2081047"/>
            <a:ext cx="3648018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8" y="1809436"/>
            <a:ext cx="3648018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C2CA1454-1993-8B75-66B5-A59F401C80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3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5733D159-5E6A-C22F-C226-0B15D57CB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6948" r="20214" b="11741"/>
          <a:stretch/>
        </p:blipFill>
        <p:spPr>
          <a:xfrm>
            <a:off x="889095" y="0"/>
            <a:ext cx="8254905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864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7910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k 16">
            <a:extLst>
              <a:ext uri="{FF2B5EF4-FFF2-40B4-BE49-F238E27FC236}">
                <a16:creationId xmlns:a16="http://schemas.microsoft.com/office/drawing/2014/main" id="{127236AC-385C-EBE5-7561-BE1CA3C70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42" t="8882" r="24702" b="26576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D3645C4E-B90B-D676-13B7-A6F36B6362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45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tel og 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897051"/>
            <a:ext cx="8229486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646EA35-F0E0-A802-CEFA-464D6250911C}"/>
              </a:ext>
            </a:extLst>
          </p:cNvPr>
          <p:cNvSpPr/>
          <p:nvPr userDrawn="1"/>
        </p:nvSpPr>
        <p:spPr>
          <a:xfrm>
            <a:off x="-1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B3610D67-829F-7753-DAA3-D434EEA73AC5}"/>
              </a:ext>
            </a:extLst>
          </p:cNvPr>
          <p:cNvSpPr/>
          <p:nvPr userDrawn="1"/>
        </p:nvSpPr>
        <p:spPr>
          <a:xfrm>
            <a:off x="3061066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EE381F8-6F7C-2553-D5D3-B419E77AED5C}"/>
              </a:ext>
            </a:extLst>
          </p:cNvPr>
          <p:cNvSpPr/>
          <p:nvPr userDrawn="1"/>
        </p:nvSpPr>
        <p:spPr>
          <a:xfrm>
            <a:off x="6116022" y="2917276"/>
            <a:ext cx="3027978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74D47579-561A-1035-B1F4-2F2E2A2DC0B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57258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032AFE5F-B141-8A02-90F1-BA438010E4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58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0AADA2E9-4EB7-A342-3AAD-92D5568B01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59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4E42518D-FA05-425F-F143-37D2998FDFC1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587619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tekst 11">
            <a:extLst>
              <a:ext uri="{FF2B5EF4-FFF2-40B4-BE49-F238E27FC236}">
                <a16:creationId xmlns:a16="http://schemas.microsoft.com/office/drawing/2014/main" id="{2E36F93E-5B24-78B5-D4D3-CFF61E4D9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7619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2">
            <a:extLst>
              <a:ext uri="{FF2B5EF4-FFF2-40B4-BE49-F238E27FC236}">
                <a16:creationId xmlns:a16="http://schemas.microsoft.com/office/drawing/2014/main" id="{B363DA32-0871-CC31-0331-700AE140CE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620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bilde 9">
            <a:extLst>
              <a:ext uri="{FF2B5EF4-FFF2-40B4-BE49-F238E27FC236}">
                <a16:creationId xmlns:a16="http://schemas.microsoft.com/office/drawing/2014/main" id="{EBC16840-01B4-C460-A692-F8CFB036901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717980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9" name="Plassholder for tekst 11">
            <a:extLst>
              <a:ext uri="{FF2B5EF4-FFF2-40B4-BE49-F238E27FC236}">
                <a16:creationId xmlns:a16="http://schemas.microsoft.com/office/drawing/2014/main" id="{AA6A037C-7F5E-F887-58CA-FDCA9C1575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17980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2">
            <a:extLst>
              <a:ext uri="{FF2B5EF4-FFF2-40B4-BE49-F238E27FC236}">
                <a16:creationId xmlns:a16="http://schemas.microsoft.com/office/drawing/2014/main" id="{6CFECE86-FC91-2A0C-8308-B54DDD05C3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17981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86767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17749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vileside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C6507BDE-C397-F11A-6079-DAFE03A28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493" t="29293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69B9F52B-5A3F-77E9-E1AC-EAF6B21150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56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482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lla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4806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indigo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9897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me">
    <p:bg>
      <p:bgPr>
        <a:solidFill>
          <a:srgbClr val="4BF0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024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grønn">
    <p:bg>
      <p:bgPr>
        <a:solidFill>
          <a:srgbClr val="005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286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1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A11C50B3-6FB3-7FC0-04CC-9F1AA64FA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93906E-1006-489A-0CC9-0A0171C76CCE}"/>
              </a:ext>
            </a:extLst>
          </p:cNvPr>
          <p:cNvSpPr/>
          <p:nvPr userDrawn="1"/>
        </p:nvSpPr>
        <p:spPr>
          <a:xfrm>
            <a:off x="3838575" y="2133600"/>
            <a:ext cx="1457325" cy="819150"/>
          </a:xfrm>
          <a:prstGeom prst="rect">
            <a:avLst/>
          </a:prstGeom>
          <a:solidFill>
            <a:srgbClr val="8A0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22ED8C9F-DD38-6BC0-4A88-9916AB4EF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175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CA674F5-1A45-F790-44D0-B65417F65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EB01969-A9C0-E6E7-5329-2338815D26AB}"/>
              </a:ext>
            </a:extLst>
          </p:cNvPr>
          <p:cNvSpPr/>
          <p:nvPr userDrawn="1"/>
        </p:nvSpPr>
        <p:spPr>
          <a:xfrm>
            <a:off x="3843337" y="2146300"/>
            <a:ext cx="1457325" cy="819150"/>
          </a:xfrm>
          <a:prstGeom prst="rect">
            <a:avLst/>
          </a:prstGeom>
          <a:solidFill>
            <a:srgbClr val="1754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1669C3E9-F960-FFB5-6262-5B805F4996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93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CCE8073-0C93-7D9A-9607-EC2F1069AE5A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8CF249F0-D73C-ABA7-AFAC-095D211666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1428" y="0"/>
            <a:ext cx="4572572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252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bg>
      <p:bgPr>
        <a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98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 og gra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45C3145-1A1F-8DC3-D043-642D4A957A22}"/>
              </a:ext>
            </a:extLst>
          </p:cNvPr>
          <p:cNvSpPr/>
          <p:nvPr userDrawn="1"/>
        </p:nvSpPr>
        <p:spPr>
          <a:xfrm>
            <a:off x="0" y="0"/>
            <a:ext cx="4572572" cy="5111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5411E35D-D571-C517-28AB-D29667B5E4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958814" y="212725"/>
            <a:ext cx="3836987" cy="4516721"/>
          </a:xfrm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87733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Deloverskrift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68344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Deloverskrift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8754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k 19">
            <a:extLst>
              <a:ext uri="{FF2B5EF4-FFF2-40B4-BE49-F238E27FC236}">
                <a16:creationId xmlns:a16="http://schemas.microsoft.com/office/drawing/2014/main" id="{DF7D169B-633E-2A31-AF34-59AB49BEA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5740" b="40296"/>
          <a:stretch/>
        </p:blipFill>
        <p:spPr>
          <a:xfrm>
            <a:off x="4858339" y="1744958"/>
            <a:ext cx="4285661" cy="2909535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6E6E083F-35A9-65FC-A0A3-4CFDEB97F8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892923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273493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A0CE2F-587C-2A35-D66A-1FC176F13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8250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1" imgH="411" progId="TCLayout.ActiveDocument.1">
                  <p:embed/>
                </p:oleObj>
              </mc:Choice>
              <mc:Fallback>
                <p:oleObj name="think-cell Slide" r:id="rId32" imgW="411" imgH="41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0CE2F-587C-2A35-D66A-1FC176F1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71BD923-3E36-84C6-4D50-0D5300920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8229486" cy="6647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A15E85F-A1B2-39DA-282C-5327D4C868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57" y="2081047"/>
            <a:ext cx="8229486" cy="2148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44EF01-02A4-7E88-4DD7-62AF12BDE9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1"/>
                </a:solidFill>
              </a:defRPr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953B6-6F68-E621-F184-467E25816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32316A8-2520-2CFD-627A-62D77CB02A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57" y="4796968"/>
            <a:ext cx="20574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3990BA13-52AF-0D85-828E-7A521DE0A57E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57257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70" r:id="rId5"/>
    <p:sldLayoutId id="2147483661" r:id="rId6"/>
    <p:sldLayoutId id="2147483662" r:id="rId7"/>
    <p:sldLayoutId id="2147483652" r:id="rId8"/>
    <p:sldLayoutId id="2147483671" r:id="rId9"/>
    <p:sldLayoutId id="2147483672" r:id="rId10"/>
    <p:sldLayoutId id="2147483673" r:id="rId11"/>
    <p:sldLayoutId id="2147483682" r:id="rId12"/>
    <p:sldLayoutId id="2147483674" r:id="rId13"/>
    <p:sldLayoutId id="2147483675" r:id="rId14"/>
    <p:sldLayoutId id="2147483676" r:id="rId15"/>
    <p:sldLayoutId id="2147483677" r:id="rId16"/>
    <p:sldLayoutId id="2147483680" r:id="rId17"/>
    <p:sldLayoutId id="2147483678" r:id="rId18"/>
    <p:sldLayoutId id="2147483679" r:id="rId19"/>
    <p:sldLayoutId id="2147483681" r:id="rId20"/>
    <p:sldLayoutId id="2147483654" r:id="rId21"/>
    <p:sldLayoutId id="2147483669" r:id="rId22"/>
    <p:sldLayoutId id="2147483655" r:id="rId23"/>
    <p:sldLayoutId id="2147483663" r:id="rId24"/>
    <p:sldLayoutId id="2147483664" r:id="rId25"/>
    <p:sldLayoutId id="2147483665" r:id="rId26"/>
    <p:sldLayoutId id="2147483666" r:id="rId27"/>
    <p:sldLayoutId id="2147483667" r:id="rId28"/>
    <p:sldLayoutId id="2147483668" r:id="rId2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06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62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34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gif"/><Relationship Id="rId3" Type="http://schemas.openxmlformats.org/officeDocument/2006/relationships/oleObject" Target="../embeddings/oleObject5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gif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6" Type="http://schemas.openxmlformats.org/officeDocument/2006/relationships/hyperlink" Target="https://www.europower.no/kraftmarked/september-tallene-er-klare-sa-lav-er-faktisk-stromprisen-na/2-1-1717095?utm_campaign=2024-09-30&amp;utm_content=daily&amp;utm_medium=email&amp;utm_source=email_campaign&amp;utm_term=europower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5" Type="http://schemas.openxmlformats.org/officeDocument/2006/relationships/image" Target="../media/image4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8B56EC-7292-D1FD-439F-B85706CC2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8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8B56EC-7292-D1FD-439F-B85706CC2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B808BFC-B71A-C9E5-5827-2A0376474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90" y="971694"/>
            <a:ext cx="3702960" cy="664797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kern="1200">
                <a:latin typeface="+mj-lt"/>
                <a:ea typeface="+mj-ea"/>
                <a:cs typeface="+mj-cs"/>
              </a:rPr>
              <a:t>Strømprisindeksen for </a:t>
            </a:r>
            <a:r>
              <a:rPr lang="nb-NO"/>
              <a:t>september 2024</a:t>
            </a:r>
            <a:endParaRPr lang="nb-NO" kern="1200">
              <a:latin typeface="+mj-lt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CD328A-FCBF-98DB-A3A2-36A13A7E9980}"/>
              </a:ext>
            </a:extLst>
          </p:cNvPr>
          <p:cNvSpPr txBox="1"/>
          <p:nvPr/>
        </p:nvSpPr>
        <p:spPr>
          <a:xfrm>
            <a:off x="409490" y="1775431"/>
            <a:ext cx="3702960" cy="2882597"/>
          </a:xfrm>
          <a:prstGeom prst="rect">
            <a:avLst/>
          </a:prstGeom>
        </p:spPr>
        <p:txBody>
          <a:bodyPr rot="0" spcFirstLastPara="0" vertOverflow="overflow" horzOverflow="overflow" vert="horz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900"/>
              <a:t>Strømregningene økte i hele Norge i september. Dette var et resultat av økt strømforbruk og i mange deler av landet også økte priser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900"/>
              <a:t>Strømforbruket steg i hele landet som en følge av fallende temperaturer. I Sør-Norge falt temperaturene med rundt 2 grader fra august. I Trondheim og Tromsø falt de med rundt 5 grader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900"/>
              <a:t>Strømprisene steg noe fra august til september i alle prisområder, bortsett fra i NO2 – Sørvest-Norge, der de falt litt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900">
                <a:cs typeface="Arial"/>
              </a:rPr>
              <a:t>Strømprisene økte også sammenliknet med i september 2023, da prisene var historisk lave i store deler av landet som en følge av ekstremværet Hans. Igjen var unntaket NO2, der strømprisene har falt litt fra i fjor. 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900"/>
              <a:t>Prisforskjellene i Sør-Norge ble redusert noe i september. Dette skyldes økt strømforbruk, som førte til at Østlandet hadde mindre overskuddsproduksjon. Prisforskjellene var størst på starten av måneden og falt mot slutten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900"/>
              <a:t>Norge hadde svært lave strømpriser i september sammenliknet med landene lengre ned på kontinentet som vi utveksler strøm med.</a:t>
            </a:r>
            <a:endParaRPr lang="nb-NO" sz="900">
              <a:cs typeface="Arial"/>
            </a:endParaRP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AC8519B-310F-D2CA-BE3D-69752A6AE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1</a:t>
            </a:fld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6068879A-59D1-FF84-F087-3EEB8BFD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18E1D59B-28AB-669B-605F-6D3494123F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3290" y="-1"/>
            <a:ext cx="4660711" cy="466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721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11DC7983-AF56-DA6E-FD76-B992BE953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8E7AAE4-9C48-F891-CECC-311D27CEB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10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9729696-B0DE-A8A9-6827-7D49787D4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strømprisindeksen?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B2E2DCC4-3775-3A0B-A70F-0A1A7ADFC6B2}"/>
              </a:ext>
            </a:extLst>
          </p:cNvPr>
          <p:cNvSpPr txBox="1">
            <a:spLocks/>
          </p:cNvSpPr>
          <p:nvPr/>
        </p:nvSpPr>
        <p:spPr>
          <a:xfrm>
            <a:off x="457257" y="1951308"/>
            <a:ext cx="5676565" cy="23393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Fornybar Norges strømprisindeks viser hva en gjennomsnittlig husholdning i hvert av de fem norske prisområdene for strøm kan regne med å betale i strømregning, sammenliknet med forrige måned og samme måned forrige år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Utregningen er basert på faktiske priser og gjennomsnittlig forbruk i de fem prisområdene, samt nettleie og avgifter. For strømpris er det tatt utgangspunkt i en vanlig spotprisavtale med et påslag på 5 øre/kWh og 40 kroner i fast månedsbeløp. Nettleie er basert på et vektet gjennomsnitt av prisene til de største nettselskapene i hvert prisområde. Tallene er innhentet fra Nord Pool, </a:t>
            </a:r>
            <a:r>
              <a:rPr lang="nb-NO" sz="1100" kern="100" err="1">
                <a:ea typeface="Calibri" panose="020F0502020204030204" pitchFamily="34" charset="0"/>
                <a:cs typeface="Times New Roman" panose="02020603050405020304" pitchFamily="18" charset="0"/>
              </a:rPr>
              <a:t>Elhub</a:t>
            </a: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 og nettselskapene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Hensikten med strømprisindeksen er å gi norske strømkunder bedre innsikt i hvordan strømprisene utvikler seg over tid, hva som påvirker dem og hvordan strømregningen er sammensatt.</a:t>
            </a:r>
          </a:p>
        </p:txBody>
      </p:sp>
    </p:spTree>
    <p:extLst>
      <p:ext uri="{BB962C8B-B14F-4D97-AF65-F5344CB8AC3E}">
        <p14:creationId xmlns:p14="http://schemas.microsoft.com/office/powerpoint/2010/main" val="2053668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79E723-2D8B-9E39-E93A-0F21F77BD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131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79E723-2D8B-9E39-E93A-0F21F77BD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</a:t>
            </a:r>
            <a:r>
              <a:rPr lang="nb-NO" err="1"/>
              <a:t>dd.mm.yyyy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1920" y="276847"/>
            <a:ext cx="5980160" cy="494406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kning september-august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4DCDA78-71F1-811A-A7B3-AF6C80100E58}"/>
              </a:ext>
            </a:extLst>
          </p:cNvPr>
          <p:cNvSpPr txBox="1"/>
          <p:nvPr/>
        </p:nvSpPr>
        <p:spPr>
          <a:xfrm>
            <a:off x="217939" y="763949"/>
            <a:ext cx="5083897" cy="7848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Strømregningen økte i hele Norge i septem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Både økte strømpriser og økt strømforbruk bidro til de økte strømregningene. Unntaket er i NO2 - Sørvest-Norge, der strømprisene falt fra august til septemb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Det økte forbruket skyldes at været er blitt kaldere. Snittemperaturene falt med to grader i de sørlige prisområdene og med 5 grader i Midt- og Nord-Norge fra august til september. 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1AB5B9F3-8F6E-FB63-4035-D0B61CCAA3FF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i norske kroner dersom ikke annet er oppgitt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21B8C53-AA53-A852-4492-9BA4D601B0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33585" y="1341108"/>
            <a:ext cx="4110414" cy="30828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209CBB-C9AB-BA6E-3FAE-5B8063D6E6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3064" y="1763372"/>
            <a:ext cx="2112474" cy="2827990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98A31114-AE4A-2C3A-5034-C60474D62470}"/>
              </a:ext>
            </a:extLst>
          </p:cNvPr>
          <p:cNvSpPr txBox="1"/>
          <p:nvPr/>
        </p:nvSpPr>
        <p:spPr>
          <a:xfrm>
            <a:off x="5301836" y="1156364"/>
            <a:ext cx="47608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regninger i september og august 2024</a:t>
            </a:r>
          </a:p>
        </p:txBody>
      </p:sp>
      <p:pic>
        <p:nvPicPr>
          <p:cNvPr id="10" name="Bilde 9" descr="Et bilde som inneholder diagram&#10;&#10;Automatisk generert beskrivelse">
            <a:extLst>
              <a:ext uri="{FF2B5EF4-FFF2-40B4-BE49-F238E27FC236}">
                <a16:creationId xmlns:a16="http://schemas.microsoft.com/office/drawing/2014/main" id="{D388F67E-CBD0-6D61-3BE3-4DCD8FC240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60" y="1763371"/>
            <a:ext cx="2107397" cy="282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45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A0A2B6D-88E9-5295-3A1E-C5492963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36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0A2B6D-88E9-5295-3A1E-C5492963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612" y="449868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gning september 2023-2024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C70556-B41D-FA15-EDBD-21B7105AEC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0666" y="1269083"/>
            <a:ext cx="4230177" cy="31726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3A123B-CC7B-438C-45B1-FD90C4A986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9304" y="1586389"/>
            <a:ext cx="2167209" cy="290825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47D54D-3951-79FF-87AE-265095706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45148" y="1582885"/>
            <a:ext cx="2172431" cy="2915262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033AADF-D07F-262B-FDF8-3A80D13F93CB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bg1"/>
                </a:solidFill>
              </a:rPr>
              <a:t>Tall er i norske kroner dersom ikke annet er oppgit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21531C8D-908F-3C5D-76AA-208A0DF8D559}"/>
              </a:ext>
            </a:extLst>
          </p:cNvPr>
          <p:cNvSpPr txBox="1"/>
          <p:nvPr/>
        </p:nvSpPr>
        <p:spPr>
          <a:xfrm>
            <a:off x="220768" y="924405"/>
            <a:ext cx="48714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regningene økte sammenliknet med september i fjor, grunnet økte priser og høyere forbruk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mesteparten av Norge falt temperaturene med én grad i forhold til september i fjor. Dermed ble strømforbruket høyere forrige måned enn i samme måned i fjo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prisene økte i mesteparten av Norge i september, fra svært lave nivåer i fjor. 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F768446-0AB2-B3E1-3333-88CAAE767719}"/>
              </a:ext>
            </a:extLst>
          </p:cNvPr>
          <p:cNvSpPr txBox="1"/>
          <p:nvPr/>
        </p:nvSpPr>
        <p:spPr>
          <a:xfrm>
            <a:off x="5050498" y="1104929"/>
            <a:ext cx="47608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regninger september 2024 og september 2023</a:t>
            </a:r>
          </a:p>
        </p:txBody>
      </p:sp>
    </p:spTree>
    <p:extLst>
      <p:ext uri="{BB962C8B-B14F-4D97-AF65-F5344CB8AC3E}">
        <p14:creationId xmlns:p14="http://schemas.microsoft.com/office/powerpoint/2010/main" val="4275014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74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F121519-CDDC-1962-9CD6-6AAC2E69B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raftutveksling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475A88D7-D294-62B2-8755-82110AB84D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346" y="701624"/>
            <a:ext cx="2705555" cy="3865081"/>
          </a:xfrm>
        </p:spPr>
      </p:pic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EDD2A1DB-03B4-A540-E2CF-68A1C96AF138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55256" y="545045"/>
            <a:ext cx="2818288" cy="3865081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3816D81-2F0C-5C31-0215-8B391B6646ED}"/>
              </a:ext>
            </a:extLst>
          </p:cNvPr>
          <p:cNvSpPr txBox="1"/>
          <p:nvPr/>
        </p:nvSpPr>
        <p:spPr>
          <a:xfrm>
            <a:off x="457257" y="1643063"/>
            <a:ext cx="2786598" cy="21236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september har vi hatt nettoimport av strøm fra Sverige, og nettoeksport til Nederland, Tyskland, Danmark og Storbritann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Prisene i Europa var langt høyere enn i Norge i september. Dette er på grunn av mye vannkraft i Sør-Nor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Europa har fått økte strømpriser de siste månedene grunnet økt gass- og CO</a:t>
            </a:r>
            <a:r>
              <a:rPr lang="nb-NO" sz="600"/>
              <a:t>2</a:t>
            </a:r>
            <a:r>
              <a:rPr lang="nb-NO" sz="1100"/>
              <a:t>-pr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sum eksporterte vi 2 </a:t>
            </a:r>
            <a:r>
              <a:rPr lang="nb-NO" sz="1100" err="1"/>
              <a:t>TWh</a:t>
            </a:r>
            <a:r>
              <a:rPr lang="nb-NO" sz="1100"/>
              <a:t> med strøm i august.</a:t>
            </a:r>
            <a:endParaRPr lang="nb-NO" sz="1100">
              <a:cs typeface="Arial"/>
            </a:endParaRPr>
          </a:p>
        </p:txBody>
      </p:sp>
      <p:pic>
        <p:nvPicPr>
          <p:cNvPr id="1026" name="Picture 2" descr="Danmarks flagg og våpen – Store norske leksikon">
            <a:extLst>
              <a:ext uri="{FF2B5EF4-FFF2-40B4-BE49-F238E27FC236}">
                <a16:creationId xmlns:a16="http://schemas.microsoft.com/office/drawing/2014/main" id="{A3000F04-E780-98BA-A9F5-FBB1AD330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1584" y="2810913"/>
            <a:ext cx="4028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veriges flagg og våpen – Store norske leksikon">
            <a:extLst>
              <a:ext uri="{FF2B5EF4-FFF2-40B4-BE49-F238E27FC236}">
                <a16:creationId xmlns:a16="http://schemas.microsoft.com/office/drawing/2014/main" id="{7BD95610-1C21-5E69-CD9D-A797BAA38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3406" y="3115713"/>
            <a:ext cx="427132" cy="348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the United Kingdom - Wikipedia">
            <a:extLst>
              <a:ext uri="{FF2B5EF4-FFF2-40B4-BE49-F238E27FC236}">
                <a16:creationId xmlns:a16="http://schemas.microsoft.com/office/drawing/2014/main" id="{ACF3AF7C-A2DE-81CC-E858-516CB408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827" y="2810913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ederlands flagg og våpen – Store norske leksikon">
            <a:extLst>
              <a:ext uri="{FF2B5EF4-FFF2-40B4-BE49-F238E27FC236}">
                <a16:creationId xmlns:a16="http://schemas.microsoft.com/office/drawing/2014/main" id="{8EF0B950-C72C-D5A3-948A-06A2609A5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7405" y="2798061"/>
            <a:ext cx="416983" cy="3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ysklands flagg og våpen – Store norske leksikon">
            <a:extLst>
              <a:ext uri="{FF2B5EF4-FFF2-40B4-BE49-F238E27FC236}">
                <a16:creationId xmlns:a16="http://schemas.microsoft.com/office/drawing/2014/main" id="{93E8EE5C-F00F-9D19-55F8-6D26C9255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1939" y="2810913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664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57CBFE-67B8-6958-F926-F7EF5569B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83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7CBFE-67B8-6958-F926-F7EF5569B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9A5425B-7AF1-1FCB-F05D-DEFBAC6078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5438103" cy="4657748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4EAE05A-F727-0685-6F86-2AD50798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D4479EF9-3012-3964-A9D0-6C16A3C05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803" y="398513"/>
            <a:ext cx="5774034" cy="664797"/>
          </a:xfrm>
        </p:spPr>
        <p:txBody>
          <a:bodyPr vert="horz"/>
          <a:lstStyle/>
          <a:p>
            <a:r>
              <a:rPr lang="nb-NO">
                <a:cs typeface="Arial"/>
              </a:rPr>
              <a:t>Hva forklarer strømprisene i september?</a:t>
            </a:r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2598B32B-A883-0F3D-57FD-5F9BDF19C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A3EFEB1-D7F7-A46E-7DED-AE462CEAB1A0}"/>
              </a:ext>
            </a:extLst>
          </p:cNvPr>
          <p:cNvSpPr txBox="1"/>
          <p:nvPr/>
        </p:nvSpPr>
        <p:spPr>
          <a:xfrm>
            <a:off x="282091" y="974470"/>
            <a:ext cx="4000459" cy="40196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ffectLst/>
                <a:ea typeface="Calibri"/>
                <a:cs typeface="Arial"/>
              </a:rPr>
              <a:t>Kaldere vær og høyere strømforbruk</a:t>
            </a:r>
            <a:endParaRPr lang="nb-NO" sz="1200" b="1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ffectLst/>
                <a:ea typeface="Calibri"/>
                <a:cs typeface="Arial"/>
              </a:rPr>
              <a:t>Når høsten kommer og temperaturene faller, stiger strømforbruket i takt med at folk begynner å skru på varmen. Fra august til september økte strømforbruket til en gjennomsnittshusholdning med mellom 10 og 24 prosent i alle de fem norske strømprisområdene, viser tall fra </a:t>
            </a:r>
            <a:r>
              <a:rPr lang="nb-NO" sz="1100" kern="100" err="1">
                <a:effectLst/>
                <a:ea typeface="Calibri"/>
                <a:cs typeface="Arial"/>
              </a:rPr>
              <a:t>Elhub</a:t>
            </a:r>
            <a:r>
              <a:rPr lang="nb-NO" sz="1100" kern="100">
                <a:effectLst/>
                <a:ea typeface="Calibri"/>
                <a:cs typeface="Arial"/>
              </a:rPr>
              <a:t>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/>
                <a:cs typeface="Arial"/>
              </a:rPr>
              <a:t>Økt strømforbruk fører som regel til høyere strømpriser. I september steg strømprisene i fire av de fem norske prisområdene. NO2 – Sørvest-Norge var det eneste prisområdet der strømprisene sank forrige måned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/>
                <a:cs typeface="Arial"/>
              </a:rPr>
              <a:t>Til tross for prisøkningen var strømprisene fortsatt lave i september. Hovedårsaken til dette var stor vannkraftproduksjon, høy magasinfylling og flaskehalser i kraftoverføringen til kontinentet og Storbritannia, ifølge NVE.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/>
                <a:cs typeface="Arial"/>
              </a:rPr>
              <a:t>Fyllingsgraden i vannmagasinene i Sør-Norge er litt høyere enn normalt for årstiden. Det har den vært flere måneder nå etter en snørik vinter og en våt sommer.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900" kern="100">
              <a:ea typeface="Calibri"/>
              <a:cs typeface="Arial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E225F7EA-99E6-543D-3D1D-6EACC2C8D6E1}"/>
              </a:ext>
            </a:extLst>
          </p:cNvPr>
          <p:cNvSpPr txBox="1"/>
          <p:nvPr/>
        </p:nvSpPr>
        <p:spPr>
          <a:xfrm>
            <a:off x="4471460" y="974470"/>
            <a:ext cx="4000459" cy="407162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ffectLst/>
                <a:ea typeface="Calibri"/>
                <a:cs typeface="Arial"/>
              </a:rPr>
              <a:t>Fortsatt lave strømpriser</a:t>
            </a:r>
            <a:endParaRPr lang="nb-NO" sz="1200" b="1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/>
                <a:cs typeface="Arial"/>
              </a:rPr>
              <a:t>Strømprisene i september var lave sammenliknet med hva vi har vært vant til de siste fire årene. I NO1 var faktisk strømprisen forrige måned også lavere enn i hele perioden fra september 2016 til februar 2020, ifølge </a:t>
            </a:r>
            <a:r>
              <a:rPr lang="nb-NO" sz="1100" kern="100">
                <a:ea typeface="Calibri"/>
                <a:cs typeface="Arial"/>
                <a:hlinkClick r:id="rId6"/>
              </a:rPr>
              <a:t>Europower</a:t>
            </a:r>
            <a:r>
              <a:rPr lang="nb-NO" sz="1100" kern="100">
                <a:ea typeface="Calibri"/>
                <a:cs typeface="Arial"/>
              </a:rPr>
              <a:t>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/>
                <a:cs typeface="Arial"/>
              </a:rPr>
              <a:t>I september var strømprisene helt sør i Norge, i NO2, mer enn dobbelt så høye som i de to nærliggende prisområdene NO1 og NO5.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/>
                <a:cs typeface="Arial"/>
              </a:rPr>
              <a:t>Fra NO2 går det strømkabler til Danmark, Tyskland, Nederland og Storbritannia. Det gjør at strømprisene i NO2 i større grad enn resten av Sør-Norge blir påvirket av spotprisene nedover på kontinentet. Til tross for dette, var strømprisene i de landene nedover på kontinentet som vi har strømkabler til – Storbritannia, Tyskland, Nederland og Danmark – omtrent dobbelt så høye i september som prisene i NO2.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900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900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1000" kern="100">
              <a:effectLst/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9428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57FE68-9AD6-C6A4-DF08-975433BC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Utviklingen fremov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502D30A-3FAE-781C-EE25-B4A797F38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6" y="1806206"/>
            <a:ext cx="4030400" cy="2737307"/>
          </a:xfrm>
          <a:ln>
            <a:noFill/>
          </a:ln>
        </p:spPr>
        <p:txBody>
          <a:bodyPr vert="horz" lIns="0" tIns="0" rIns="0" bIns="0" rtlCol="0" anchor="t">
            <a:normAutofit/>
          </a:bodyPr>
          <a:lstStyle/>
          <a:p>
            <a:endParaRPr lang="nb-NO" sz="1000">
              <a:cs typeface="Arial"/>
            </a:endParaRPr>
          </a:p>
          <a:p>
            <a:pPr lvl="1"/>
            <a:endParaRPr lang="nb-NO"/>
          </a:p>
          <a:p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069DBE61-8E0F-73A1-15C4-6F6A92217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E333035-272F-954D-1DE2-3EA90053F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B670F3-F503-EDCF-4447-49EB9200B55E}"/>
              </a:ext>
            </a:extLst>
          </p:cNvPr>
          <p:cNvSpPr txBox="1"/>
          <p:nvPr/>
        </p:nvSpPr>
        <p:spPr>
          <a:xfrm>
            <a:off x="458782" y="1646322"/>
            <a:ext cx="6462625" cy="8925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Markedet forventer at strømprisene vil øke litt utover sommeren og høst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Til vinteren forventes det priser om lag på samme nivå som sist vin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En tørr sommer har ført til at magasinnivåene er omtrent på median-nivå. På øst-og vestlandet er det over mediannivå, mens i Nord-Norge er det betydelig lavere.</a:t>
            </a:r>
          </a:p>
        </p:txBody>
      </p:sp>
    </p:spTree>
    <p:extLst>
      <p:ext uri="{BB962C8B-B14F-4D97-AF65-F5344CB8AC3E}">
        <p14:creationId xmlns:p14="http://schemas.microsoft.com/office/powerpoint/2010/main" val="4148148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2D50B9E-CD09-2192-6C3B-95534AAE4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88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50B9E-CD09-2192-6C3B-95534AAE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213922F-444B-9587-AFC4-5C4C6A8D8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7423" y="426320"/>
            <a:ext cx="5777094" cy="494406"/>
          </a:xfrm>
        </p:spPr>
        <p:txBody>
          <a:bodyPr vert="horz"/>
          <a:lstStyle/>
          <a:p>
            <a:r>
              <a:rPr lang="nb-NO">
                <a:cs typeface="Arial"/>
              </a:rPr>
              <a:t>Vedlegg 1: Detaljert regning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2C698D7-E915-EED2-0D1D-8D9A15B54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D0095D8-72B6-43FF-9307-B3808DE88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7</a:t>
            </a:fld>
            <a:endParaRPr lang="nb-NO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08E89037-2C15-7BA4-E420-580B2668841D}"/>
              </a:ext>
            </a:extLst>
          </p:cNvPr>
          <p:cNvSpPr/>
          <p:nvPr/>
        </p:nvSpPr>
        <p:spPr>
          <a:xfrm>
            <a:off x="7249362" y="1260314"/>
            <a:ext cx="1566518" cy="619951"/>
          </a:xfrm>
          <a:prstGeom prst="wedgeRectCallout">
            <a:avLst>
              <a:gd name="adj1" fmla="val -72481"/>
              <a:gd name="adj2" fmla="val 3476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Dette er hva kraftprodusentene får betalt for strømmen</a:t>
            </a:r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127DA9E0-2CEF-FE7D-6AE9-33C8E0D6BC4E}"/>
              </a:ext>
            </a:extLst>
          </p:cNvPr>
          <p:cNvSpPr/>
          <p:nvPr/>
        </p:nvSpPr>
        <p:spPr>
          <a:xfrm>
            <a:off x="7249362" y="2092659"/>
            <a:ext cx="1631164" cy="338904"/>
          </a:xfrm>
          <a:prstGeom prst="wedgeRectCallout">
            <a:avLst>
              <a:gd name="adj1" fmla="val -71496"/>
              <a:gd name="adj2" fmla="val -51156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Dette er strømleverandørens påslag på strømregningen</a:t>
            </a:r>
          </a:p>
        </p:txBody>
      </p:sp>
      <p:sp>
        <p:nvSpPr>
          <p:cNvPr id="4" name="Speech Bubble: Rectangle 10">
            <a:extLst>
              <a:ext uri="{FF2B5EF4-FFF2-40B4-BE49-F238E27FC236}">
                <a16:creationId xmlns:a16="http://schemas.microsoft.com/office/drawing/2014/main" id="{113A1B97-60AB-A82D-7695-603B4FDE308B}"/>
              </a:ext>
            </a:extLst>
          </p:cNvPr>
          <p:cNvSpPr/>
          <p:nvPr/>
        </p:nvSpPr>
        <p:spPr>
          <a:xfrm>
            <a:off x="7249362" y="3324599"/>
            <a:ext cx="1566518" cy="529670"/>
          </a:xfrm>
          <a:prstGeom prst="wedgeRectCallout">
            <a:avLst>
              <a:gd name="adj1" fmla="val -70888"/>
              <a:gd name="adj2" fmla="val -4950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Finnmark og deler av Troms har fritak for el-avgift</a:t>
            </a:r>
            <a:endParaRPr lang="nb-NO" sz="800"/>
          </a:p>
        </p:txBody>
      </p:sp>
      <p:sp>
        <p:nvSpPr>
          <p:cNvPr id="6" name="Speech Bubble: Rectangle 10">
            <a:extLst>
              <a:ext uri="{FF2B5EF4-FFF2-40B4-BE49-F238E27FC236}">
                <a16:creationId xmlns:a16="http://schemas.microsoft.com/office/drawing/2014/main" id="{43281BD6-61B8-4DBB-3558-178E91D04924}"/>
              </a:ext>
            </a:extLst>
          </p:cNvPr>
          <p:cNvSpPr/>
          <p:nvPr/>
        </p:nvSpPr>
        <p:spPr>
          <a:xfrm>
            <a:off x="7238094" y="2555875"/>
            <a:ext cx="1566518" cy="529670"/>
          </a:xfrm>
          <a:prstGeom prst="wedgeRectCallout">
            <a:avLst>
              <a:gd name="adj1" fmla="val -70760"/>
              <a:gd name="adj2" fmla="val -66697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cs typeface="Arial"/>
              </a:rPr>
              <a:t>Dette går til nettselskapet for å bygge, drifte og vedlikeholde strømnettet</a:t>
            </a:r>
            <a:endParaRPr lang="nb-NO" sz="800"/>
          </a:p>
        </p:txBody>
      </p:sp>
      <p:sp>
        <p:nvSpPr>
          <p:cNvPr id="27" name="Snakkeboble: rektangel 26">
            <a:extLst>
              <a:ext uri="{FF2B5EF4-FFF2-40B4-BE49-F238E27FC236}">
                <a16:creationId xmlns:a16="http://schemas.microsoft.com/office/drawing/2014/main" id="{1D503F1E-631A-06BB-9FA6-AB5D4E68E9D8}"/>
              </a:ext>
            </a:extLst>
          </p:cNvPr>
          <p:cNvSpPr/>
          <p:nvPr/>
        </p:nvSpPr>
        <p:spPr>
          <a:xfrm>
            <a:off x="7249362" y="3897260"/>
            <a:ext cx="1631164" cy="338904"/>
          </a:xfrm>
          <a:prstGeom prst="wedgeRectCallout">
            <a:avLst>
              <a:gd name="adj1" fmla="val -69387"/>
              <a:gd name="adj2" fmla="val -8228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Nord-Norge har fritak for MVA på strøm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00DDBDD-1832-6A0C-F937-3CBEE583917D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norske kroner der ikke annet er oppgitt</a:t>
            </a:r>
          </a:p>
        </p:txBody>
      </p:sp>
      <p:graphicFrame>
        <p:nvGraphicFramePr>
          <p:cNvPr id="10" name="Tabell 9">
            <a:extLst>
              <a:ext uri="{FF2B5EF4-FFF2-40B4-BE49-F238E27FC236}">
                <a16:creationId xmlns:a16="http://schemas.microsoft.com/office/drawing/2014/main" id="{5EFAB2C3-A48B-F621-EDD7-43DD2497F6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053369"/>
              </p:ext>
            </p:extLst>
          </p:nvPr>
        </p:nvGraphicFramePr>
        <p:xfrm>
          <a:off x="339388" y="974118"/>
          <a:ext cx="6577192" cy="3355185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802462">
                  <a:extLst>
                    <a:ext uri="{9D8B030D-6E8A-4147-A177-3AD203B41FA5}">
                      <a16:colId xmlns:a16="http://schemas.microsoft.com/office/drawing/2014/main" val="2153600734"/>
                    </a:ext>
                  </a:extLst>
                </a:gridCol>
                <a:gridCol w="954946">
                  <a:extLst>
                    <a:ext uri="{9D8B030D-6E8A-4147-A177-3AD203B41FA5}">
                      <a16:colId xmlns:a16="http://schemas.microsoft.com/office/drawing/2014/main" val="2597830637"/>
                    </a:ext>
                  </a:extLst>
                </a:gridCol>
                <a:gridCol w="954946">
                  <a:extLst>
                    <a:ext uri="{9D8B030D-6E8A-4147-A177-3AD203B41FA5}">
                      <a16:colId xmlns:a16="http://schemas.microsoft.com/office/drawing/2014/main" val="3948100028"/>
                    </a:ext>
                  </a:extLst>
                </a:gridCol>
                <a:gridCol w="954946">
                  <a:extLst>
                    <a:ext uri="{9D8B030D-6E8A-4147-A177-3AD203B41FA5}">
                      <a16:colId xmlns:a16="http://schemas.microsoft.com/office/drawing/2014/main" val="385397499"/>
                    </a:ext>
                  </a:extLst>
                </a:gridCol>
                <a:gridCol w="954946">
                  <a:extLst>
                    <a:ext uri="{9D8B030D-6E8A-4147-A177-3AD203B41FA5}">
                      <a16:colId xmlns:a16="http://schemas.microsoft.com/office/drawing/2014/main" val="3470084007"/>
                    </a:ext>
                  </a:extLst>
                </a:gridCol>
                <a:gridCol w="954946">
                  <a:extLst>
                    <a:ext uri="{9D8B030D-6E8A-4147-A177-3AD203B41FA5}">
                      <a16:colId xmlns:a16="http://schemas.microsoft.com/office/drawing/2014/main" val="3661114056"/>
                    </a:ext>
                  </a:extLst>
                </a:gridCol>
              </a:tblGrid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Prisområde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 </a:t>
                      </a: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655651064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8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0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1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8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4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828416371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5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3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2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8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4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295616586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5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4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8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862329331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Fas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986595222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Påslag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5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377198378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4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5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9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6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1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088354647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nergi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8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831555020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8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890065987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9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7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5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0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2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681509165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l-avgif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3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3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104587189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NOVA-avgif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620362026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MVA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3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926462477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551162774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79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16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97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95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87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3236820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44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156261-E1C9-2286-1892-F2CC3F37C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 2: Detaljerte sammenligning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C49259-E8DF-C4CD-6DCB-0BF59C947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534897E-F465-C561-2DE7-E7BB40E3D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8</a:t>
            </a:fld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7A60D7B-702C-A706-64FD-CDEEDECD6266}"/>
              </a:ext>
            </a:extLst>
          </p:cNvPr>
          <p:cNvSpPr txBox="1"/>
          <p:nvPr/>
        </p:nvSpPr>
        <p:spPr>
          <a:xfrm>
            <a:off x="755121" y="4743107"/>
            <a:ext cx="8253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accent2">
                    <a:lumMod val="50000"/>
                  </a:schemeClr>
                </a:solidFill>
              </a:rPr>
              <a:t>Kun regningsposter som varierer fra måned til måned, tall er norske kroner der ikke annet er oppgitt</a:t>
            </a:r>
          </a:p>
        </p:txBody>
      </p:sp>
      <p:graphicFrame>
        <p:nvGraphicFramePr>
          <p:cNvPr id="3" name="Tabell 2">
            <a:extLst>
              <a:ext uri="{FF2B5EF4-FFF2-40B4-BE49-F238E27FC236}">
                <a16:creationId xmlns:a16="http://schemas.microsoft.com/office/drawing/2014/main" id="{C9E4F81C-2D16-3D89-C7B7-F592571EB7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461151"/>
              </p:ext>
            </p:extLst>
          </p:nvPr>
        </p:nvGraphicFramePr>
        <p:xfrm>
          <a:off x="40999" y="2421252"/>
          <a:ext cx="4483584" cy="2200947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1282539">
                  <a:extLst>
                    <a:ext uri="{9D8B030D-6E8A-4147-A177-3AD203B41FA5}">
                      <a16:colId xmlns:a16="http://schemas.microsoft.com/office/drawing/2014/main" val="3208071028"/>
                    </a:ext>
                  </a:extLst>
                </a:gridCol>
                <a:gridCol w="634621">
                  <a:extLst>
                    <a:ext uri="{9D8B030D-6E8A-4147-A177-3AD203B41FA5}">
                      <a16:colId xmlns:a16="http://schemas.microsoft.com/office/drawing/2014/main" val="1570476735"/>
                    </a:ext>
                  </a:extLst>
                </a:gridCol>
                <a:gridCol w="518615">
                  <a:extLst>
                    <a:ext uri="{9D8B030D-6E8A-4147-A177-3AD203B41FA5}">
                      <a16:colId xmlns:a16="http://schemas.microsoft.com/office/drawing/2014/main" val="2466226831"/>
                    </a:ext>
                  </a:extLst>
                </a:gridCol>
                <a:gridCol w="743803">
                  <a:extLst>
                    <a:ext uri="{9D8B030D-6E8A-4147-A177-3AD203B41FA5}">
                      <a16:colId xmlns:a16="http://schemas.microsoft.com/office/drawing/2014/main" val="2220366327"/>
                    </a:ext>
                  </a:extLst>
                </a:gridCol>
                <a:gridCol w="668740">
                  <a:extLst>
                    <a:ext uri="{9D8B030D-6E8A-4147-A177-3AD203B41FA5}">
                      <a16:colId xmlns:a16="http://schemas.microsoft.com/office/drawing/2014/main" val="3264412088"/>
                    </a:ext>
                  </a:extLst>
                </a:gridCol>
                <a:gridCol w="635266">
                  <a:extLst>
                    <a:ext uri="{9D8B030D-6E8A-4147-A177-3AD203B41FA5}">
                      <a16:colId xmlns:a16="http://schemas.microsoft.com/office/drawing/2014/main" val="1658105397"/>
                    </a:ext>
                  </a:extLst>
                </a:gridCol>
              </a:tblGrid>
              <a:tr h="284023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ugust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470757081"/>
                  </a:ext>
                </a:extLst>
              </a:tr>
              <a:tr h="42211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68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2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8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5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7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157700762"/>
                  </a:ext>
                </a:extLst>
              </a:tr>
              <a:tr h="284023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5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1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7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0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7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717085850"/>
                  </a:ext>
                </a:extLst>
              </a:tr>
              <a:tr h="15691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4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3284443288"/>
                  </a:ext>
                </a:extLst>
              </a:tr>
              <a:tr h="29909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2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3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8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9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9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3128058912"/>
                  </a:ext>
                </a:extLst>
              </a:tr>
              <a:tr h="284023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8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3183795086"/>
                  </a:ext>
                </a:extLst>
              </a:tr>
              <a:tr h="15691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4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4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8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6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8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2231561501"/>
                  </a:ext>
                </a:extLst>
              </a:tr>
              <a:tr h="15691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4155591997"/>
                  </a:ext>
                </a:extLst>
              </a:tr>
              <a:tr h="15691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3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09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74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6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75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3128019491"/>
                  </a:ext>
                </a:extLst>
              </a:tr>
            </a:tbl>
          </a:graphicData>
        </a:graphic>
      </p:graphicFrame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3040DF2B-6FC0-04F9-71E1-C5F465090C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0373259"/>
              </p:ext>
            </p:extLst>
          </p:nvPr>
        </p:nvGraphicFramePr>
        <p:xfrm>
          <a:off x="4524582" y="2421252"/>
          <a:ext cx="4363386" cy="2223902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180182">
                  <a:extLst>
                    <a:ext uri="{9D8B030D-6E8A-4147-A177-3AD203B41FA5}">
                      <a16:colId xmlns:a16="http://schemas.microsoft.com/office/drawing/2014/main" val="252878897"/>
                    </a:ext>
                  </a:extLst>
                </a:gridCol>
                <a:gridCol w="750627">
                  <a:extLst>
                    <a:ext uri="{9D8B030D-6E8A-4147-A177-3AD203B41FA5}">
                      <a16:colId xmlns:a16="http://schemas.microsoft.com/office/drawing/2014/main" val="2632198548"/>
                    </a:ext>
                  </a:extLst>
                </a:gridCol>
                <a:gridCol w="614149">
                  <a:extLst>
                    <a:ext uri="{9D8B030D-6E8A-4147-A177-3AD203B41FA5}">
                      <a16:colId xmlns:a16="http://schemas.microsoft.com/office/drawing/2014/main" val="236663773"/>
                    </a:ext>
                  </a:extLst>
                </a:gridCol>
                <a:gridCol w="648269">
                  <a:extLst>
                    <a:ext uri="{9D8B030D-6E8A-4147-A177-3AD203B41FA5}">
                      <a16:colId xmlns:a16="http://schemas.microsoft.com/office/drawing/2014/main" val="2047505095"/>
                    </a:ext>
                  </a:extLst>
                </a:gridCol>
                <a:gridCol w="600501">
                  <a:extLst>
                    <a:ext uri="{9D8B030D-6E8A-4147-A177-3AD203B41FA5}">
                      <a16:colId xmlns:a16="http://schemas.microsoft.com/office/drawing/2014/main" val="3086320966"/>
                    </a:ext>
                  </a:extLst>
                </a:gridCol>
                <a:gridCol w="569658">
                  <a:extLst>
                    <a:ext uri="{9D8B030D-6E8A-4147-A177-3AD203B41FA5}">
                      <a16:colId xmlns:a16="http://schemas.microsoft.com/office/drawing/2014/main" val="1823082366"/>
                    </a:ext>
                  </a:extLst>
                </a:gridCol>
              </a:tblGrid>
              <a:tr h="306803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eptember 202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1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2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3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827000781"/>
                  </a:ext>
                </a:extLst>
              </a:tr>
              <a:tr h="45596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Gjennomsnittlig forbruk (KWh)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8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80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919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184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84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1260231343"/>
                  </a:ext>
                </a:extLst>
              </a:tr>
              <a:tr h="306803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regning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5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3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2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8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4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2466687647"/>
                  </a:ext>
                </a:extLst>
              </a:tr>
              <a:tr h="169505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Spotpris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7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359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4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87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6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724196066"/>
                  </a:ext>
                </a:extLst>
              </a:tr>
              <a:tr h="169505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ettlei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4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5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9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6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1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3740692914"/>
                  </a:ext>
                </a:extLst>
              </a:tr>
              <a:tr h="306803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Kapasitetsledd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96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8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1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9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1082368010"/>
                  </a:ext>
                </a:extLst>
              </a:tr>
              <a:tr h="169505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vgifter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9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7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5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0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2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4160760185"/>
                  </a:ext>
                </a:extLst>
              </a:tr>
              <a:tr h="169505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støtt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3437154874"/>
                  </a:ext>
                </a:extLst>
              </a:tr>
              <a:tr h="169505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Totalt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79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16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97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95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87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/>
                </a:tc>
                <a:extLst>
                  <a:ext uri="{0D108BD9-81ED-4DB2-BD59-A6C34878D82A}">
                    <a16:rowId xmlns:a16="http://schemas.microsoft.com/office/drawing/2014/main" val="2006669727"/>
                  </a:ext>
                </a:extLst>
              </a:tr>
            </a:tbl>
          </a:graphicData>
        </a:graphic>
      </p:graphicFrame>
      <p:graphicFrame>
        <p:nvGraphicFramePr>
          <p:cNvPr id="9" name="Tabell 8">
            <a:extLst>
              <a:ext uri="{FF2B5EF4-FFF2-40B4-BE49-F238E27FC236}">
                <a16:creationId xmlns:a16="http://schemas.microsoft.com/office/drawing/2014/main" id="{36E34E62-85A8-5E23-2AE0-3436322CE7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849733"/>
              </p:ext>
            </p:extLst>
          </p:nvPr>
        </p:nvGraphicFramePr>
        <p:xfrm>
          <a:off x="4524582" y="272956"/>
          <a:ext cx="4363384" cy="2125338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1195774">
                  <a:extLst>
                    <a:ext uri="{9D8B030D-6E8A-4147-A177-3AD203B41FA5}">
                      <a16:colId xmlns:a16="http://schemas.microsoft.com/office/drawing/2014/main" val="3495057176"/>
                    </a:ext>
                  </a:extLst>
                </a:gridCol>
                <a:gridCol w="633522">
                  <a:extLst>
                    <a:ext uri="{9D8B030D-6E8A-4147-A177-3AD203B41FA5}">
                      <a16:colId xmlns:a16="http://schemas.microsoft.com/office/drawing/2014/main" val="3774115826"/>
                    </a:ext>
                  </a:extLst>
                </a:gridCol>
                <a:gridCol w="633522">
                  <a:extLst>
                    <a:ext uri="{9D8B030D-6E8A-4147-A177-3AD203B41FA5}">
                      <a16:colId xmlns:a16="http://schemas.microsoft.com/office/drawing/2014/main" val="1144390008"/>
                    </a:ext>
                  </a:extLst>
                </a:gridCol>
                <a:gridCol w="633522">
                  <a:extLst>
                    <a:ext uri="{9D8B030D-6E8A-4147-A177-3AD203B41FA5}">
                      <a16:colId xmlns:a16="http://schemas.microsoft.com/office/drawing/2014/main" val="1596566221"/>
                    </a:ext>
                  </a:extLst>
                </a:gridCol>
                <a:gridCol w="633522">
                  <a:extLst>
                    <a:ext uri="{9D8B030D-6E8A-4147-A177-3AD203B41FA5}">
                      <a16:colId xmlns:a16="http://schemas.microsoft.com/office/drawing/2014/main" val="1800746740"/>
                    </a:ext>
                  </a:extLst>
                </a:gridCol>
                <a:gridCol w="633522">
                  <a:extLst>
                    <a:ext uri="{9D8B030D-6E8A-4147-A177-3AD203B41FA5}">
                      <a16:colId xmlns:a16="http://schemas.microsoft.com/office/drawing/2014/main" val="1217138734"/>
                    </a:ext>
                  </a:extLst>
                </a:gridCol>
              </a:tblGrid>
              <a:tr h="379749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September 2023</a:t>
                      </a:r>
                      <a:endParaRPr lang="nb-NO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NO1</a:t>
                      </a:r>
                      <a:endParaRPr lang="nb-NO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NO2</a:t>
                      </a:r>
                      <a:endParaRPr lang="nb-NO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NO3</a:t>
                      </a:r>
                      <a:endParaRPr lang="nb-NO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NO4</a:t>
                      </a:r>
                      <a:endParaRPr lang="nb-NO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NO5</a:t>
                      </a:r>
                      <a:endParaRPr lang="nb-NO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23334889"/>
                  </a:ext>
                </a:extLst>
              </a:tr>
              <a:tr h="379749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>
                          <a:effectLst/>
                        </a:rPr>
                        <a:t>Gjennomsnittlig forbruk (KWh)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736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740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880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1254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804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6369683"/>
                  </a:ext>
                </a:extLst>
              </a:tr>
              <a:tr h="195120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Strømregning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86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506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173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229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90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90487496"/>
                  </a:ext>
                </a:extLst>
              </a:tr>
              <a:tr h="195120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>
                          <a:effectLst/>
                        </a:rPr>
                        <a:t>Spotpris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9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429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89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126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10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71186644"/>
                  </a:ext>
                </a:extLst>
              </a:tr>
              <a:tr h="195120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Nettleie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239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313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221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384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270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3810117"/>
                  </a:ext>
                </a:extLst>
              </a:tr>
              <a:tr h="195120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>
                          <a:effectLst/>
                        </a:rPr>
                        <a:t>Kapasitetsledd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96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167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94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224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u="none" strike="noStrike">
                          <a:effectLst/>
                        </a:rPr>
                        <a:t>100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18518675"/>
                  </a:ext>
                </a:extLst>
              </a:tr>
              <a:tr h="195120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Avgifter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236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360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284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211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259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60193842"/>
                  </a:ext>
                </a:extLst>
              </a:tr>
              <a:tr h="195120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Strømstøtte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0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-71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0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0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0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47286271"/>
                  </a:ext>
                </a:extLst>
              </a:tr>
              <a:tr h="195120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u="none" strike="noStrike">
                          <a:effectLst/>
                        </a:rPr>
                        <a:t>Totalt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561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1108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678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824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u="none" strike="noStrike">
                          <a:effectLst/>
                        </a:rPr>
                        <a:t>619</a:t>
                      </a:r>
                      <a:endParaRPr lang="nb-NO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5130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780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887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9</a:t>
            </a:fld>
            <a:endParaRPr lang="nb-NO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E74EA589-72EA-AA47-0E44-BCAE8A4D90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4656" y="565791"/>
            <a:ext cx="5453741" cy="4090306"/>
          </a:xfrm>
          <a:prstGeom prst="rect">
            <a:avLst/>
          </a:prstGeom>
        </p:spPr>
      </p:pic>
      <p:sp>
        <p:nvSpPr>
          <p:cNvPr id="16" name="Tittel 1">
            <a:extLst>
              <a:ext uri="{FF2B5EF4-FFF2-40B4-BE49-F238E27FC236}">
                <a16:creationId xmlns:a16="http://schemas.microsoft.com/office/drawing/2014/main" id="{05F1EE16-5CB9-787E-C19C-5D8FCB48A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955" y="233392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Vedlegg 3: Utvikling over tid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3098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8C00FC"/>
      </a:dk2>
      <a:lt2>
        <a:srgbClr val="E7E6E6"/>
      </a:lt2>
      <a:accent1>
        <a:srgbClr val="440185"/>
      </a:accent1>
      <a:accent2>
        <a:srgbClr val="E7CCFF"/>
      </a:accent2>
      <a:accent3>
        <a:srgbClr val="00583C"/>
      </a:accent3>
      <a:accent4>
        <a:srgbClr val="4BF0C5"/>
      </a:accent4>
      <a:accent5>
        <a:srgbClr val="8C00FC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rnybar norge.potx" id="{CF955149-A45B-49C3-8711-FB8A3A82D5DB}" vid="{7748E326-CEB4-4244-8570-03EBA8BF589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D682D32-1B9D-400A-8463-203F70C35850}">
  <we:reference id="7606cf59-4db8-48a8-b0a0-8d865e20ba2f" version="2.0.0.0" store="\\JØRGEN-JOBB\Users\JørgenBye\Drammen kommune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9119b49b-2cc3-444e-b755-8692f4554da6" ContentTypeId="0x0101" PreviousValue="false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BDB9F1F1BFE459CB1AB1E20AAA9DB" ma:contentTypeVersion="24" ma:contentTypeDescription="Create a new document." ma:contentTypeScope="" ma:versionID="69b2b7d33f6fe8682b1b41d28fba9b8c">
  <xsd:schema xmlns:xsd="http://www.w3.org/2001/XMLSchema" xmlns:xs="http://www.w3.org/2001/XMLSchema" xmlns:p="http://schemas.microsoft.com/office/2006/metadata/properties" xmlns:ns2="0f13f7a7-5a1c-4b07-a3f7-2a8c474a6703" xmlns:ns3="0f22a05a-b5e2-4bd8-b764-0ad6c193d339" xmlns:ns4="749ab8b6-ff35-4a4f-9f18-9cef83ce6420" targetNamespace="http://schemas.microsoft.com/office/2006/metadata/properties" ma:root="true" ma:fieldsID="af0812f9563710aa50e4a5bad36ec487" ns2:_="" ns3:_="" ns4:_="">
    <xsd:import namespace="0f13f7a7-5a1c-4b07-a3f7-2a8c474a6703"/>
    <xsd:import namespace="0f22a05a-b5e2-4bd8-b764-0ad6c193d339"/>
    <xsd:import namespace="749ab8b6-ff35-4a4f-9f18-9cef83ce6420"/>
    <xsd:element name="properties">
      <xsd:complexType>
        <xsd:sequence>
          <xsd:element name="documentManagement">
            <xsd:complexType>
              <xsd:all>
                <xsd:element ref="ns2:Dokumentdato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Saksbehandler" minOccurs="0"/>
                <xsd:element ref="ns2:Mottaker" minOccurs="0"/>
                <xsd:element ref="ns2:Avsender" minOccurs="0"/>
                <xsd:element ref="ns2:_Flow_SignoffStatus" minOccurs="0"/>
                <xsd:element ref="ns2:Status" minOccurs="0"/>
                <xsd:element ref="ns2:MediaServiceObjectDetectorVersions" minOccurs="0"/>
                <xsd:element ref="ns2:Produkt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13f7a7-5a1c-4b07-a3f7-2a8c474a6703" elementFormDefault="qualified">
    <xsd:import namespace="http://schemas.microsoft.com/office/2006/documentManagement/types"/>
    <xsd:import namespace="http://schemas.microsoft.com/office/infopath/2007/PartnerControls"/>
    <xsd:element name="Dokumentdato" ma:index="8" nillable="true" ma:displayName="Dokumentdato" ma:format="DateOnly" ma:internalName="Dokumentdato">
      <xsd:simpleType>
        <xsd:restriction base="dms:DateTim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19b49b-2cc3-444e-b755-8692f4554d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Saksbehandler" ma:index="22" nillable="true" ma:displayName="Saksbehandler" ma:format="Dropdown" ma:list="UserInfo" ma:SharePointGroup="0" ma:internalName="Saksbehandl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ottaker" ma:index="23" nillable="true" ma:displayName="Mottaker" ma:format="Dropdown" ma:indexed="true" ma:internalName="Mottaker">
      <xsd:simpleType>
        <xsd:restriction base="dms:Text">
          <xsd:maxLength value="255"/>
        </xsd:restriction>
      </xsd:simpleType>
    </xsd:element>
    <xsd:element name="Avsender" ma:index="24" nillable="true" ma:displayName="Avsender" ma:format="Dropdown" ma:internalName="Avsender">
      <xsd:simpleType>
        <xsd:restriction base="dms:Text">
          <xsd:maxLength value="255"/>
        </xsd:restriction>
      </xsd:simpleType>
    </xsd:element>
    <xsd:element name="_Flow_SignoffStatus" ma:index="25" nillable="true" ma:displayName="Sign-off status" ma:internalName="Sign_x002d_off_x0020_status">
      <xsd:simpleType>
        <xsd:restriction base="dms:Text"/>
      </xsd:simpleType>
    </xsd:element>
    <xsd:element name="Status" ma:index="26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Produkt" ma:index="28" nillable="true" ma:displayName="Produkt" ma:format="Dropdown" ma:internalName="Produkt">
      <xsd:simpleType>
        <xsd:restriction base="dms:Text">
          <xsd:maxLength value="255"/>
        </xsd:restriction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2a05a-b5e2-4bd8-b764-0ad6c193d33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9ab8b6-ff35-4a4f-9f18-9cef83ce642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8b03620c-fac2-4011-801c-19735e004c3b}" ma:internalName="TaxCatchAll" ma:showField="CatchAllData" ma:web="0f22a05a-b5e2-4bd8-b764-0ad6c193d3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f22a05a-b5e2-4bd8-b764-0ad6c193d339">
      <UserInfo>
        <DisplayName>Bård Standal</DisplayName>
        <AccountId>107</AccountId>
        <AccountType/>
      </UserInfo>
      <UserInfo>
        <DisplayName>Martin Ødegaard</DisplayName>
        <AccountId>93</AccountId>
        <AccountType/>
      </UserInfo>
      <UserInfo>
        <DisplayName>Aslak Øverås</DisplayName>
        <AccountId>29</AccountId>
        <AccountType/>
      </UserInfo>
      <UserInfo>
        <DisplayName>Sindre Sættem</DisplayName>
        <AccountId>54</AccountId>
        <AccountType/>
      </UserInfo>
      <UserInfo>
        <DisplayName>Camilla Vedeler</DisplayName>
        <AccountId>301</AccountId>
        <AccountType/>
      </UserInfo>
      <UserInfo>
        <DisplayName>Thor Egil Braadland</DisplayName>
        <AccountId>1058</AccountId>
        <AccountType/>
      </UserInfo>
      <UserInfo>
        <DisplayName>Iselin Ekeli Rønningsbakk</DisplayName>
        <AccountId>159</AccountId>
        <AccountType/>
      </UserInfo>
      <UserInfo>
        <DisplayName>Ingeborg Aarø</DisplayName>
        <AccountId>1762</AccountId>
        <AccountType/>
      </UserInfo>
    </SharedWithUsers>
    <Status xmlns="0f13f7a7-5a1c-4b07-a3f7-2a8c474a6703" xsi:nil="true"/>
    <Avsender xmlns="0f13f7a7-5a1c-4b07-a3f7-2a8c474a6703" xsi:nil="true"/>
    <TaxCatchAll xmlns="749ab8b6-ff35-4a4f-9f18-9cef83ce6420" xsi:nil="true"/>
    <Saksbehandler xmlns="0f13f7a7-5a1c-4b07-a3f7-2a8c474a6703">
      <UserInfo>
        <DisplayName/>
        <AccountId xsi:nil="true"/>
        <AccountType/>
      </UserInfo>
    </Saksbehandler>
    <Dokumentdato xmlns="0f13f7a7-5a1c-4b07-a3f7-2a8c474a6703" xsi:nil="true"/>
    <Produkt xmlns="0f13f7a7-5a1c-4b07-a3f7-2a8c474a6703" xsi:nil="true"/>
    <lcf76f155ced4ddcb4097134ff3c332f xmlns="0f13f7a7-5a1c-4b07-a3f7-2a8c474a6703">
      <Terms xmlns="http://schemas.microsoft.com/office/infopath/2007/PartnerControls"/>
    </lcf76f155ced4ddcb4097134ff3c332f>
    <_Flow_SignoffStatus xmlns="0f13f7a7-5a1c-4b07-a3f7-2a8c474a6703" xsi:nil="true"/>
    <Mottaker xmlns="0f13f7a7-5a1c-4b07-a3f7-2a8c474a6703" xsi:nil="true"/>
  </documentManagement>
</p:properties>
</file>

<file path=customXml/itemProps1.xml><?xml version="1.0" encoding="utf-8"?>
<ds:datastoreItem xmlns:ds="http://schemas.openxmlformats.org/officeDocument/2006/customXml" ds:itemID="{3A46E27F-EC10-4651-9DBE-1F904980C63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529AFC9C-0EF5-4D73-AC75-234BAC9ADE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BBDCEB5-B3D6-4B67-942C-2366984D6890}">
  <ds:schemaRefs>
    <ds:schemaRef ds:uri="0f13f7a7-5a1c-4b07-a3f7-2a8c474a6703"/>
    <ds:schemaRef ds:uri="0f22a05a-b5e2-4bd8-b764-0ad6c193d339"/>
    <ds:schemaRef ds:uri="749ab8b6-ff35-4a4f-9f18-9cef83ce64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D54E4824-219F-4E10-9EEA-EA03318A9FE2}">
  <ds:schemaRefs>
    <ds:schemaRef ds:uri="0f13f7a7-5a1c-4b07-a3f7-2a8c474a6703"/>
    <ds:schemaRef ds:uri="0f22a05a-b5e2-4bd8-b764-0ad6c193d339"/>
    <ds:schemaRef ds:uri="749ab8b6-ff35-4a4f-9f18-9cef83ce642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nybar_Norge_PowerPointmal Fullversjon</Template>
  <Application>Microsoft Office PowerPoint</Application>
  <PresentationFormat>Custom</PresentationFormat>
  <Slides>10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ffice-tema</vt:lpstr>
      <vt:lpstr>Strømprisindeksen for september 2024</vt:lpstr>
      <vt:lpstr>Sammenlikning september-august</vt:lpstr>
      <vt:lpstr>Sammenligning september 2023-2024</vt:lpstr>
      <vt:lpstr>Kraftutveksling</vt:lpstr>
      <vt:lpstr>Hva forklarer strømprisene i september?</vt:lpstr>
      <vt:lpstr>Utviklingen fremover</vt:lpstr>
      <vt:lpstr>Vedlegg 1: Detaljert regning</vt:lpstr>
      <vt:lpstr>Vedlegg 2: Detaljerte sammenligninger</vt:lpstr>
      <vt:lpstr>Vedlegg 3: Utvikling over tid</vt:lpstr>
      <vt:lpstr>Hva er strømprisindeks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ømprisindeksen - oktober 2023</dc:title>
  <dc:creator>Camilla M. Granheim</dc:creator>
  <cp:revision>1</cp:revision>
  <dcterms:created xsi:type="dcterms:W3CDTF">2023-03-27T08:27:31Z</dcterms:created>
  <dcterms:modified xsi:type="dcterms:W3CDTF">2024-10-04T10:0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BDB9F1F1BFE459CB1AB1E20AAA9DB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11","FileActivityTimeStamp":"2023-11-06T14:19:37.493Z","FileActivityUsersOnPage":[{"DisplayName":"Iselin Ekeli Rønningsbakk","Id":"iselin.ronningsbakk@fornybarnorge.no"},{"DisplayName":"Lars Tennbakk Bockman","Id":"lars.bockman@fornybarnorge.no"}],"FileActivityNavigationId":null}</vt:lpwstr>
  </property>
  <property fmtid="{D5CDD505-2E9C-101B-9397-08002B2CF9AE}" pid="7" name="TriggerFlowInfo">
    <vt:lpwstr/>
  </property>
</Properties>
</file>